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Override2.xml" ContentType="application/vnd.openxmlformats-officedocument.themeOverrid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1" r:id="rId1"/>
    <p:sldMasterId id="2147483653" r:id="rId2"/>
    <p:sldMasterId id="2147483722" r:id="rId3"/>
    <p:sldMasterId id="2147483734" r:id="rId4"/>
    <p:sldMasterId id="2147483746" r:id="rId5"/>
    <p:sldMasterId id="2147483758" r:id="rId6"/>
  </p:sldMasterIdLst>
  <p:notesMasterIdLst>
    <p:notesMasterId r:id="rId9"/>
  </p:notesMasterIdLst>
  <p:handoutMasterIdLst>
    <p:handoutMasterId r:id="rId10"/>
  </p:handoutMasterIdLst>
  <p:sldIdLst>
    <p:sldId id="304" r:id="rId7"/>
    <p:sldId id="305" r:id="rId8"/>
  </p:sldIdLst>
  <p:sldSz cx="9144000" cy="6858000" type="screen4x3"/>
  <p:notesSz cx="7010400" cy="9236075"/>
  <p:defaultTextStyle>
    <a:defPPr>
      <a:defRPr lang="en-GB"/>
    </a:defPPr>
    <a:lvl1pPr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r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36F2"/>
    <a:srgbClr val="5287C2"/>
    <a:srgbClr val="00915A"/>
    <a:srgbClr val="3C9146"/>
    <a:srgbClr val="46B496"/>
    <a:srgbClr val="28A5C3"/>
    <a:srgbClr val="D2DCAA"/>
    <a:srgbClr val="F0F050"/>
    <a:srgbClr val="E6A01E"/>
    <a:srgbClr val="DCDC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495" autoAdjust="0"/>
    <p:restoredTop sz="97374" autoAdjust="0"/>
  </p:normalViewPr>
  <p:slideViewPr>
    <p:cSldViewPr snapToGrid="0">
      <p:cViewPr>
        <p:scale>
          <a:sx n="100" d="100"/>
          <a:sy n="100" d="100"/>
        </p:scale>
        <p:origin x="-1488" y="-51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798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938" y="0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798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72669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smtClean="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798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938" y="8772669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smtClean="0"/>
            </a:lvl1pPr>
          </a:lstStyle>
          <a:p>
            <a:pPr>
              <a:defRPr/>
            </a:pPr>
            <a:fld id="{27C19103-7929-4839-9237-3FC7FFA4314E}" type="slidenum">
              <a:rPr lang="fr-FR" altLang="en-US"/>
              <a:pPr>
                <a:defRPr/>
              </a:pPr>
              <a:t>‹#›</a:t>
            </a:fld>
            <a:endParaRPr lang="fr-FR" altLang="en-US"/>
          </a:p>
        </p:txBody>
      </p:sp>
    </p:spTree>
    <p:extLst>
      <p:ext uri="{BB962C8B-B14F-4D97-AF65-F5344CB8AC3E}">
        <p14:creationId xmlns:p14="http://schemas.microsoft.com/office/powerpoint/2010/main" val="30156693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 noProof="1" smtClean="0"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938" y="0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noProof="1" smtClean="0"/>
            </a:lvl1pPr>
          </a:lstStyle>
          <a:p>
            <a:pPr>
              <a:defRPr/>
            </a:pPr>
            <a:endParaRPr lang="fr-FR" altLang="en-US"/>
          </a:p>
        </p:txBody>
      </p:sp>
      <p:sp>
        <p:nvSpPr>
          <p:cNvPr id="2458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95388" y="692150"/>
            <a:ext cx="4619625" cy="34639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040" y="4387136"/>
            <a:ext cx="5608320" cy="41562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noProof="1" smtClean="0"/>
              <a:t>Cliquez pour modifier les styles du texte du masque</a:t>
            </a:r>
          </a:p>
          <a:p>
            <a:pPr lvl="1"/>
            <a:r>
              <a:rPr lang="en-GB" altLang="en-US" noProof="1" smtClean="0"/>
              <a:t>Deuxième niveau</a:t>
            </a:r>
          </a:p>
          <a:p>
            <a:pPr lvl="2"/>
            <a:r>
              <a:rPr lang="en-GB" altLang="en-US" noProof="1" smtClean="0"/>
              <a:t>Troisième niveau</a:t>
            </a:r>
          </a:p>
          <a:p>
            <a:pPr lvl="3"/>
            <a:r>
              <a:rPr lang="en-GB" altLang="en-US" noProof="1" smtClean="0"/>
              <a:t>Quatrième niveau</a:t>
            </a:r>
          </a:p>
          <a:p>
            <a:pPr lvl="4"/>
            <a:r>
              <a:rPr lang="en-GB" altLang="en-US" noProof="1" smtClean="0"/>
              <a:t>Cinquième niveau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72669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 noProof="1" smtClean="0"/>
            </a:lvl1pPr>
          </a:lstStyle>
          <a:p>
            <a:pPr>
              <a:defRPr/>
            </a:pPr>
            <a:endParaRPr lang="en-GB" alt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938" y="8772669"/>
            <a:ext cx="3037840" cy="461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noProof="1" smtClean="0"/>
            </a:lvl1pPr>
          </a:lstStyle>
          <a:p>
            <a:pPr>
              <a:defRPr/>
            </a:pPr>
            <a:fld id="{0792EDB3-3673-4DED-A883-0F54CD4F5810}" type="slidenum">
              <a:rPr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457826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Relationship Id="rId5" Type="http://schemas.openxmlformats.org/officeDocument/2006/relationships/image" Target="../media/image4.png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4.jpe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5" descr="constructionUK_essais_4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0" descr="BF_T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08100" y="338138"/>
            <a:ext cx="7499350" cy="344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4" descr="constructionUK_4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64213"/>
            <a:ext cx="9145588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998" name="Rectangle 14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30388" y="3005138"/>
            <a:ext cx="5240337" cy="512762"/>
          </a:xfrm>
        </p:spPr>
        <p:txBody>
          <a:bodyPr anchor="ctr"/>
          <a:lstStyle>
            <a:lvl1pPr marL="0" indent="0" algn="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Cliquez pour modifier le style des sous-titres du masque</a:t>
            </a:r>
          </a:p>
        </p:txBody>
      </p:sp>
      <p:sp>
        <p:nvSpPr>
          <p:cNvPr id="42003" name="Rectangle 19"/>
          <p:cNvSpPr>
            <a:spLocks noGrp="1" noChangeArrowheads="1"/>
          </p:cNvSpPr>
          <p:nvPr>
            <p:ph type="ctrTitle"/>
          </p:nvPr>
        </p:nvSpPr>
        <p:spPr>
          <a:xfrm>
            <a:off x="1830388" y="1600200"/>
            <a:ext cx="5243512" cy="1276350"/>
          </a:xfrm>
        </p:spPr>
        <p:txBody>
          <a:bodyPr tIns="0" bIns="0"/>
          <a:lstStyle>
            <a:lvl1pPr algn="r">
              <a:defRPr sz="4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altLang="en-US" noProof="0" smtClean="0"/>
              <a:t>Cliquez et modifiez le titre</a:t>
            </a:r>
          </a:p>
        </p:txBody>
      </p:sp>
    </p:spTree>
    <p:extLst>
      <p:ext uri="{BB962C8B-B14F-4D97-AF65-F5344CB8AC3E}">
        <p14:creationId xmlns:p14="http://schemas.microsoft.com/office/powerpoint/2010/main" val="306466741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25A258-1432-4908-AFAE-F5C57BD53F5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3423513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26250" y="369888"/>
            <a:ext cx="1974850" cy="54848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6938" y="369888"/>
            <a:ext cx="5776912" cy="54848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B86C1D3-B9D5-46A3-8135-263965A94A9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40407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1" descr="constructionUK_essais_4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5588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4" descr="BF_T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1275" y="334963"/>
            <a:ext cx="7499350" cy="417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0" descr="constructionUK_4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64213"/>
            <a:ext cx="9145588" cy="86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4290" name="Rectangle 18"/>
          <p:cNvSpPr>
            <a:spLocks noGrp="1" noChangeArrowheads="1"/>
          </p:cNvSpPr>
          <p:nvPr>
            <p:ph type="ctrTitle"/>
          </p:nvPr>
        </p:nvSpPr>
        <p:spPr>
          <a:xfrm>
            <a:off x="1830388" y="1600200"/>
            <a:ext cx="5243512" cy="1276350"/>
          </a:xfrm>
        </p:spPr>
        <p:txBody>
          <a:bodyPr tIns="0" bIns="0"/>
          <a:lstStyle>
            <a:lvl1pPr algn="r">
              <a:defRPr sz="4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altLang="en-US" noProof="0" smtClean="0"/>
              <a:t>Cliquez et modifiez le titre</a:t>
            </a:r>
          </a:p>
        </p:txBody>
      </p:sp>
      <p:sp>
        <p:nvSpPr>
          <p:cNvPr id="54291" name="Rectangle 19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30388" y="3341688"/>
            <a:ext cx="5240337" cy="512762"/>
          </a:xfrm>
        </p:spPr>
        <p:txBody>
          <a:bodyPr anchor="ctr"/>
          <a:lstStyle>
            <a:lvl1pPr marL="0" indent="0" algn="r">
              <a:spcBef>
                <a:spcPct val="0"/>
              </a:spcBef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 altLang="en-US" noProof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20519410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E2D76-995A-49A3-8CF6-3BC9481B8D0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97110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C3A2CB-B79A-438E-9E07-27C2C0BAED5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521735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01700" y="1311275"/>
            <a:ext cx="3873500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27600" y="1311275"/>
            <a:ext cx="3873500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0956A0-3310-459A-B4A1-F8338375296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845660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C33130A-B5C5-44A8-AC98-3E9986AD2F9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258859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FADCD20-AA7E-40FA-9EB8-00DE4FA62F4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610086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FE4D78-C60A-4C26-BBD3-45A21EAAD2C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7180684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008A0D-4310-4FFA-B73D-C70B41969D7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99978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B73B58-D3E6-492B-B485-EE7BBBBB0C7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979752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1EC66F-5C4B-4728-BE26-E6523D54579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852247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429D8D-74F7-4B22-8558-AF3B8FFD9D0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864741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26250" y="369888"/>
            <a:ext cx="1974850" cy="54848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96938" y="369888"/>
            <a:ext cx="5776912" cy="54848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4B570-892B-44E1-A4B1-C305313B6B6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7796549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IB BB PPT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" y="5474790"/>
            <a:ext cx="9142449" cy="5488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5"/>
          <p:cNvSpPr>
            <a:spLocks/>
          </p:cNvSpPr>
          <p:nvPr/>
        </p:nvSpPr>
        <p:spPr bwMode="auto">
          <a:xfrm>
            <a:off x="2051591" y="1032632"/>
            <a:ext cx="6290861" cy="1657048"/>
          </a:xfrm>
          <a:custGeom>
            <a:avLst/>
            <a:gdLst/>
            <a:ahLst/>
            <a:cxnLst>
              <a:cxn ang="0">
                <a:pos x="4057" y="1"/>
              </a:cxn>
              <a:cxn ang="0">
                <a:pos x="4056" y="1093"/>
              </a:cxn>
              <a:cxn ang="0">
                <a:pos x="0" y="1096"/>
              </a:cxn>
              <a:cxn ang="0">
                <a:pos x="1" y="225"/>
              </a:cxn>
              <a:cxn ang="0">
                <a:pos x="229" y="0"/>
              </a:cxn>
              <a:cxn ang="0">
                <a:pos x="4054" y="3"/>
              </a:cxn>
            </a:cxnLst>
            <a:rect l="0" t="0" r="r" b="b"/>
            <a:pathLst>
              <a:path w="4057" h="1096">
                <a:moveTo>
                  <a:pt x="4057" y="1"/>
                </a:moveTo>
                <a:lnTo>
                  <a:pt x="4056" y="1093"/>
                </a:lnTo>
                <a:lnTo>
                  <a:pt x="0" y="1096"/>
                </a:lnTo>
                <a:lnTo>
                  <a:pt x="1" y="225"/>
                </a:lnTo>
                <a:lnTo>
                  <a:pt x="229" y="0"/>
                </a:lnTo>
                <a:lnTo>
                  <a:pt x="4054" y="3"/>
                </a:lnTo>
              </a:path>
            </a:pathLst>
          </a:custGeom>
          <a:noFill/>
          <a:ln w="25400" cap="sq">
            <a:solidFill>
              <a:srgbClr val="000000"/>
            </a:solidFill>
            <a:prstDash val="solid"/>
            <a:miter lim="800000"/>
            <a:headEnd/>
            <a:tailEnd/>
          </a:ln>
        </p:spPr>
        <p:txBody>
          <a:bodyPr lIns="89024" tIns="44502" rIns="89024" bIns="44502"/>
          <a:lstStyle/>
          <a:p>
            <a:pPr algn="l" defTabSz="890357">
              <a:defRPr/>
            </a:pPr>
            <a:endParaRPr lang="en-US" sz="140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6" name="Picture 6" descr="Logo Block 26x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8696" y="591284"/>
            <a:ext cx="913314" cy="890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0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4404" y="1200635"/>
            <a:ext cx="5251947" cy="834571"/>
          </a:xfrm>
        </p:spPr>
        <p:txBody>
          <a:bodyPr anchor="t"/>
          <a:lstStyle>
            <a:lvl1pPr algn="r">
              <a:defRPr sz="3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60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4404" y="2141035"/>
            <a:ext cx="5251947" cy="326571"/>
          </a:xfrm>
        </p:spPr>
        <p:txBody>
          <a:bodyPr/>
          <a:lstStyle>
            <a:lvl1pPr algn="r">
              <a:defRPr sz="18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1691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513C6-8962-4361-823E-06C334474838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DE19AE-3D35-4A7F-A531-E1A551B84BF6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09927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4407204"/>
            <a:ext cx="7771702" cy="136222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907393"/>
            <a:ext cx="7771702" cy="1499810"/>
          </a:xfrm>
        </p:spPr>
        <p:txBody>
          <a:bodyPr anchor="b"/>
          <a:lstStyle>
            <a:lvl1pPr marL="0" indent="0">
              <a:buNone/>
              <a:defRPr sz="2000"/>
            </a:lvl1pPr>
            <a:lvl2pPr marL="445110" indent="0">
              <a:buNone/>
              <a:defRPr sz="1800"/>
            </a:lvl2pPr>
            <a:lvl3pPr marL="890211" indent="0">
              <a:buNone/>
              <a:defRPr sz="1600"/>
            </a:lvl3pPr>
            <a:lvl4pPr marL="1335335" indent="0">
              <a:buNone/>
              <a:defRPr sz="1400"/>
            </a:lvl4pPr>
            <a:lvl5pPr marL="1780419" indent="0">
              <a:buNone/>
              <a:defRPr sz="1400"/>
            </a:lvl5pPr>
            <a:lvl6pPr marL="2225527" indent="0">
              <a:buNone/>
              <a:defRPr sz="1400"/>
            </a:lvl6pPr>
            <a:lvl7pPr marL="2670647" indent="0">
              <a:buNone/>
              <a:defRPr sz="1400"/>
            </a:lvl7pPr>
            <a:lvl8pPr marL="3115755" indent="0">
              <a:buNone/>
              <a:defRPr sz="1400"/>
            </a:lvl8pPr>
            <a:lvl9pPr marL="356085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18F32F-EE2A-4FBF-8A92-70D1C5196770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36898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8633" y="1096182"/>
            <a:ext cx="3974236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32353" y="1096182"/>
            <a:ext cx="3975786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B30E65-6094-47F4-B69A-B3896AC93B9F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6EB031-E8AE-4F82-BFA9-8A7D2D091A3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7636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42" y="275167"/>
            <a:ext cx="8229134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039" y="1534584"/>
            <a:ext cx="4039362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5110" indent="0">
              <a:buNone/>
              <a:defRPr sz="2000" b="1"/>
            </a:lvl2pPr>
            <a:lvl3pPr marL="890211" indent="0">
              <a:buNone/>
              <a:defRPr sz="1800" b="1"/>
            </a:lvl3pPr>
            <a:lvl4pPr marL="1335335" indent="0">
              <a:buNone/>
              <a:defRPr sz="1600" b="1"/>
            </a:lvl4pPr>
            <a:lvl5pPr marL="1780419" indent="0">
              <a:buNone/>
              <a:defRPr sz="1600" b="1"/>
            </a:lvl5pPr>
            <a:lvl6pPr marL="2225527" indent="0">
              <a:buNone/>
              <a:defRPr sz="1600" b="1"/>
            </a:lvl6pPr>
            <a:lvl7pPr marL="2670647" indent="0">
              <a:buNone/>
              <a:defRPr sz="1600" b="1"/>
            </a:lvl7pPr>
            <a:lvl8pPr marL="3115755" indent="0">
              <a:buNone/>
              <a:defRPr sz="1600" b="1"/>
            </a:lvl8pPr>
            <a:lvl9pPr marL="35608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39" y="2175716"/>
            <a:ext cx="4039362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6" y="1534584"/>
            <a:ext cx="4040913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5110" indent="0">
              <a:buNone/>
              <a:defRPr sz="2000" b="1"/>
            </a:lvl2pPr>
            <a:lvl3pPr marL="890211" indent="0">
              <a:buNone/>
              <a:defRPr sz="1800" b="1"/>
            </a:lvl3pPr>
            <a:lvl4pPr marL="1335335" indent="0">
              <a:buNone/>
              <a:defRPr sz="1600" b="1"/>
            </a:lvl4pPr>
            <a:lvl5pPr marL="1780419" indent="0">
              <a:buNone/>
              <a:defRPr sz="1600" b="1"/>
            </a:lvl5pPr>
            <a:lvl6pPr marL="2225527" indent="0">
              <a:buNone/>
              <a:defRPr sz="1600" b="1"/>
            </a:lvl6pPr>
            <a:lvl7pPr marL="2670647" indent="0">
              <a:buNone/>
              <a:defRPr sz="1600" b="1"/>
            </a:lvl7pPr>
            <a:lvl8pPr marL="3115755" indent="0">
              <a:buNone/>
              <a:defRPr sz="1600" b="1"/>
            </a:lvl8pPr>
            <a:lvl9pPr marL="356085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986" y="2175716"/>
            <a:ext cx="4040913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EA0C2-DD95-4C04-A672-0FD7D43AC8EA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24060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8AC014-6DD4-44D1-8232-F5752176F757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9306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E85A6-E3BB-4CD0-8DE0-F2E8CE20EFAA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6580C-DB89-4C0F-A258-BCC9E35A24D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708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6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177ACB-0488-4859-85EC-CCA423BDE42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012339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48" y="273670"/>
            <a:ext cx="3008201" cy="116114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27" y="273657"/>
            <a:ext cx="511084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48" y="1434798"/>
            <a:ext cx="3008201" cy="4691440"/>
          </a:xfrm>
        </p:spPr>
        <p:txBody>
          <a:bodyPr/>
          <a:lstStyle>
            <a:lvl1pPr marL="0" indent="0">
              <a:buNone/>
              <a:defRPr sz="1400"/>
            </a:lvl1pPr>
            <a:lvl2pPr marL="445110" indent="0">
              <a:buNone/>
              <a:defRPr sz="1200"/>
            </a:lvl2pPr>
            <a:lvl3pPr marL="890211" indent="0">
              <a:buNone/>
              <a:defRPr sz="1000"/>
            </a:lvl3pPr>
            <a:lvl4pPr marL="1335335" indent="0">
              <a:buNone/>
              <a:defRPr sz="900"/>
            </a:lvl4pPr>
            <a:lvl5pPr marL="1780419" indent="0">
              <a:buNone/>
              <a:defRPr sz="900"/>
            </a:lvl5pPr>
            <a:lvl6pPr marL="2225527" indent="0">
              <a:buNone/>
              <a:defRPr sz="900"/>
            </a:lvl6pPr>
            <a:lvl7pPr marL="2670647" indent="0">
              <a:buNone/>
              <a:defRPr sz="900"/>
            </a:lvl7pPr>
            <a:lvl8pPr marL="3115755" indent="0">
              <a:buNone/>
              <a:defRPr sz="900"/>
            </a:lvl8pPr>
            <a:lvl9pPr marL="35608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62048D-B451-4F78-84D6-53B8F3126A9A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6DF643-BAE2-405F-BBB1-63FF38BE5A5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0029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531" y="4800298"/>
            <a:ext cx="5486090" cy="56696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531" y="612457"/>
            <a:ext cx="5486090" cy="4115405"/>
          </a:xfrm>
        </p:spPr>
        <p:txBody>
          <a:bodyPr/>
          <a:lstStyle>
            <a:lvl1pPr marL="0" indent="0">
              <a:buNone/>
              <a:defRPr sz="3200"/>
            </a:lvl1pPr>
            <a:lvl2pPr marL="445110" indent="0">
              <a:buNone/>
              <a:defRPr sz="2800"/>
            </a:lvl2pPr>
            <a:lvl3pPr marL="890211" indent="0">
              <a:buNone/>
              <a:defRPr sz="2400"/>
            </a:lvl3pPr>
            <a:lvl4pPr marL="1335335" indent="0">
              <a:buNone/>
              <a:defRPr sz="2000"/>
            </a:lvl4pPr>
            <a:lvl5pPr marL="1780419" indent="0">
              <a:buNone/>
              <a:defRPr sz="2000"/>
            </a:lvl5pPr>
            <a:lvl6pPr marL="2225527" indent="0">
              <a:buNone/>
              <a:defRPr sz="2000"/>
            </a:lvl6pPr>
            <a:lvl7pPr marL="2670647" indent="0">
              <a:buNone/>
              <a:defRPr sz="2000"/>
            </a:lvl7pPr>
            <a:lvl8pPr marL="3115755" indent="0">
              <a:buNone/>
              <a:defRPr sz="2000"/>
            </a:lvl8pPr>
            <a:lvl9pPr marL="356085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531" y="5367434"/>
            <a:ext cx="548609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45110" indent="0">
              <a:buNone/>
              <a:defRPr sz="1200"/>
            </a:lvl2pPr>
            <a:lvl3pPr marL="890211" indent="0">
              <a:buNone/>
              <a:defRPr sz="1000"/>
            </a:lvl3pPr>
            <a:lvl4pPr marL="1335335" indent="0">
              <a:buNone/>
              <a:defRPr sz="900"/>
            </a:lvl4pPr>
            <a:lvl5pPr marL="1780419" indent="0">
              <a:buNone/>
              <a:defRPr sz="900"/>
            </a:lvl5pPr>
            <a:lvl6pPr marL="2225527" indent="0">
              <a:buNone/>
              <a:defRPr sz="900"/>
            </a:lvl6pPr>
            <a:lvl7pPr marL="2670647" indent="0">
              <a:buNone/>
              <a:defRPr sz="900"/>
            </a:lvl7pPr>
            <a:lvl8pPr marL="3115755" indent="0">
              <a:buNone/>
              <a:defRPr sz="900"/>
            </a:lvl8pPr>
            <a:lvl9pPr marL="356085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9102F5-345A-4AB1-AD10-BDF1EC2BB6CF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121E5C-3796-4A66-9ADB-79AE077D77A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20481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0986DC-9CAB-407C-AE33-ED639BE24EB2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1D5FC8-6C8F-455F-B59E-AF25ABA245B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10062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84922" y="205619"/>
            <a:ext cx="2023557" cy="591910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9597" y="205619"/>
            <a:ext cx="5926465" cy="591910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8D7C8D-96C1-402A-A23B-ABB4A5942FAD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12/2/2014</a:t>
            </a:fld>
            <a:endParaRPr lang="en-US" noProof="1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6E0B12-FDE6-45B3-9371-0E2231EC48C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6314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BleuClassic_43"/>
          <p:cNvPicPr>
            <a:picLocks noChangeAspect="1" noChangeArrowheads="1"/>
          </p:cNvPicPr>
          <p:nvPr/>
        </p:nvPicPr>
        <p:blipFill>
          <a:blip r:embed="rId2" cstate="print"/>
          <a:srcRect l="2480"/>
          <a:stretch>
            <a:fillRect/>
          </a:stretch>
        </p:blipFill>
        <p:spPr bwMode="auto">
          <a:xfrm>
            <a:off x="-1531" y="0"/>
            <a:ext cx="914555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6"/>
          <p:cNvSpPr>
            <a:spLocks/>
          </p:cNvSpPr>
          <p:nvPr/>
        </p:nvSpPr>
        <p:spPr bwMode="auto">
          <a:xfrm>
            <a:off x="2051601" y="1032637"/>
            <a:ext cx="6290861" cy="1489226"/>
          </a:xfrm>
          <a:custGeom>
            <a:avLst/>
            <a:gdLst/>
            <a:ahLst/>
            <a:cxnLst>
              <a:cxn ang="0">
                <a:pos x="4057" y="1"/>
              </a:cxn>
              <a:cxn ang="0">
                <a:pos x="4056" y="985"/>
              </a:cxn>
              <a:cxn ang="0">
                <a:pos x="0" y="985"/>
              </a:cxn>
              <a:cxn ang="0">
                <a:pos x="1" y="225"/>
              </a:cxn>
              <a:cxn ang="0">
                <a:pos x="229" y="0"/>
              </a:cxn>
              <a:cxn ang="0">
                <a:pos x="4054" y="3"/>
              </a:cxn>
            </a:cxnLst>
            <a:rect l="0" t="0" r="r" b="b"/>
            <a:pathLst>
              <a:path w="4057" h="985">
                <a:moveTo>
                  <a:pt x="4057" y="1"/>
                </a:moveTo>
                <a:lnTo>
                  <a:pt x="4056" y="985"/>
                </a:lnTo>
                <a:lnTo>
                  <a:pt x="0" y="985"/>
                </a:lnTo>
                <a:lnTo>
                  <a:pt x="1" y="225"/>
                </a:lnTo>
                <a:lnTo>
                  <a:pt x="229" y="0"/>
                </a:lnTo>
                <a:lnTo>
                  <a:pt x="4054" y="3"/>
                </a:lnTo>
              </a:path>
            </a:pathLst>
          </a:custGeom>
          <a:noFill/>
          <a:ln w="25400" cap="sq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88695" tIns="44343" rIns="88695" bIns="44343"/>
          <a:lstStyle/>
          <a:p>
            <a:pPr algn="l" defTabSz="890819">
              <a:defRPr/>
            </a:pPr>
            <a:endParaRPr lang="en-US" sz="19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Picture 7" descr="Logo Block 26x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8696" y="591284"/>
            <a:ext cx="913314" cy="890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CIB_BM_Sign_PP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" y="5362727"/>
            <a:ext cx="9142449" cy="684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4472" y="1201577"/>
            <a:ext cx="5251947" cy="517071"/>
          </a:xfrm>
        </p:spPr>
        <p:txBody>
          <a:bodyPr anchor="t"/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4472" y="1706953"/>
            <a:ext cx="5251947" cy="833059"/>
          </a:xfrm>
        </p:spPr>
        <p:txBody>
          <a:bodyPr/>
          <a:lstStyle>
            <a:lvl1pPr algn="r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128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B89D29-E767-4C41-AF10-D2277573DC82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3A944C-01A1-4AA1-B546-7A79BB112BC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9714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4407205"/>
            <a:ext cx="7771702" cy="136222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907393"/>
            <a:ext cx="7771702" cy="1499810"/>
          </a:xfrm>
        </p:spPr>
        <p:txBody>
          <a:bodyPr anchor="b"/>
          <a:lstStyle>
            <a:lvl1pPr marL="0" indent="0">
              <a:buNone/>
              <a:defRPr sz="2000"/>
            </a:lvl1pPr>
            <a:lvl2pPr marL="443453" indent="0">
              <a:buNone/>
              <a:defRPr sz="1800"/>
            </a:lvl2pPr>
            <a:lvl3pPr marL="886897" indent="0">
              <a:buNone/>
              <a:defRPr sz="1600"/>
            </a:lvl3pPr>
            <a:lvl4pPr marL="1330374" indent="0">
              <a:buNone/>
              <a:defRPr sz="1400"/>
            </a:lvl4pPr>
            <a:lvl5pPr marL="1773781" indent="0">
              <a:buNone/>
              <a:defRPr sz="1400"/>
            </a:lvl5pPr>
            <a:lvl6pPr marL="2217252" indent="0">
              <a:buNone/>
              <a:defRPr sz="1400"/>
            </a:lvl6pPr>
            <a:lvl7pPr marL="2660722" indent="0">
              <a:buNone/>
              <a:defRPr sz="1400"/>
            </a:lvl7pPr>
            <a:lvl8pPr marL="3104160" indent="0">
              <a:buNone/>
              <a:defRPr sz="1400"/>
            </a:lvl8pPr>
            <a:lvl9pPr marL="3547603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7893F4-A529-4DE4-81FB-6E427DD00615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0F2087-4D71-428C-893A-9A465060E7F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4792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9595" y="1096182"/>
            <a:ext cx="3983539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1125" y="1096182"/>
            <a:ext cx="3985090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E8495EF-A7CA-4D7E-B45A-A2CA7EECD485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4BBD64E-1234-4AAE-B549-F7CBDAC3DB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05846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5" y="275167"/>
            <a:ext cx="8229134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039" y="1534584"/>
            <a:ext cx="4039362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3453" indent="0">
              <a:buNone/>
              <a:defRPr sz="2000" b="1"/>
            </a:lvl2pPr>
            <a:lvl3pPr marL="886897" indent="0">
              <a:buNone/>
              <a:defRPr sz="1800" b="1"/>
            </a:lvl3pPr>
            <a:lvl4pPr marL="1330374" indent="0">
              <a:buNone/>
              <a:defRPr sz="1600" b="1"/>
            </a:lvl4pPr>
            <a:lvl5pPr marL="1773781" indent="0">
              <a:buNone/>
              <a:defRPr sz="1600" b="1"/>
            </a:lvl5pPr>
            <a:lvl6pPr marL="2217252" indent="0">
              <a:buNone/>
              <a:defRPr sz="1600" b="1"/>
            </a:lvl6pPr>
            <a:lvl7pPr marL="2660722" indent="0">
              <a:buNone/>
              <a:defRPr sz="1600" b="1"/>
            </a:lvl7pPr>
            <a:lvl8pPr marL="3104160" indent="0">
              <a:buNone/>
              <a:defRPr sz="1600" b="1"/>
            </a:lvl8pPr>
            <a:lvl9pPr marL="354760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8039" y="2175716"/>
            <a:ext cx="4039362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986" y="1534584"/>
            <a:ext cx="4040913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3453" indent="0">
              <a:buNone/>
              <a:defRPr sz="2000" b="1"/>
            </a:lvl2pPr>
            <a:lvl3pPr marL="886897" indent="0">
              <a:buNone/>
              <a:defRPr sz="1800" b="1"/>
            </a:lvl3pPr>
            <a:lvl4pPr marL="1330374" indent="0">
              <a:buNone/>
              <a:defRPr sz="1600" b="1"/>
            </a:lvl4pPr>
            <a:lvl5pPr marL="1773781" indent="0">
              <a:buNone/>
              <a:defRPr sz="1600" b="1"/>
            </a:lvl5pPr>
            <a:lvl6pPr marL="2217252" indent="0">
              <a:buNone/>
              <a:defRPr sz="1600" b="1"/>
            </a:lvl6pPr>
            <a:lvl7pPr marL="2660722" indent="0">
              <a:buNone/>
              <a:defRPr sz="1600" b="1"/>
            </a:lvl7pPr>
            <a:lvl8pPr marL="3104160" indent="0">
              <a:buNone/>
              <a:defRPr sz="1600" b="1"/>
            </a:lvl8pPr>
            <a:lvl9pPr marL="354760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986" y="2175716"/>
            <a:ext cx="4040913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EA1435-1B38-438F-A15F-4223B9B91025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17581C-5545-498E-B308-06FB363FE26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7994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A7F6BB-6C64-40C4-BFD0-D898BFD90756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4F2411-42BF-456A-90A9-75EBB0EDBF9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1177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01700" y="1311275"/>
            <a:ext cx="3873500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27600" y="1311275"/>
            <a:ext cx="3873500" cy="45434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996728-3D06-4D79-B5AF-16DDFC8E286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7304480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F178B9-85CC-4B64-B2B8-7D3099397227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81DD95-0DA2-4C31-8ADB-2F5686939B8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10617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48" y="273670"/>
            <a:ext cx="3008201" cy="116114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36" y="273657"/>
            <a:ext cx="511084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48" y="1434798"/>
            <a:ext cx="3008201" cy="4691440"/>
          </a:xfrm>
        </p:spPr>
        <p:txBody>
          <a:bodyPr/>
          <a:lstStyle>
            <a:lvl1pPr marL="0" indent="0">
              <a:buNone/>
              <a:defRPr sz="1400"/>
            </a:lvl1pPr>
            <a:lvl2pPr marL="443453" indent="0">
              <a:buNone/>
              <a:defRPr sz="1200"/>
            </a:lvl2pPr>
            <a:lvl3pPr marL="886897" indent="0">
              <a:buNone/>
              <a:defRPr sz="1000"/>
            </a:lvl3pPr>
            <a:lvl4pPr marL="1330374" indent="0">
              <a:buNone/>
              <a:defRPr sz="900"/>
            </a:lvl4pPr>
            <a:lvl5pPr marL="1773781" indent="0">
              <a:buNone/>
              <a:defRPr sz="900"/>
            </a:lvl5pPr>
            <a:lvl6pPr marL="2217252" indent="0">
              <a:buNone/>
              <a:defRPr sz="900"/>
            </a:lvl6pPr>
            <a:lvl7pPr marL="2660722" indent="0">
              <a:buNone/>
              <a:defRPr sz="900"/>
            </a:lvl7pPr>
            <a:lvl8pPr marL="3104160" indent="0">
              <a:buNone/>
              <a:defRPr sz="900"/>
            </a:lvl8pPr>
            <a:lvl9pPr marL="354760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F457A3E-BC34-4947-9B28-657BC09C72A2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E3A57A-C34B-4858-8592-543E923D4C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66813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531" y="4800298"/>
            <a:ext cx="5486090" cy="56696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531" y="612457"/>
            <a:ext cx="5486090" cy="4115405"/>
          </a:xfrm>
        </p:spPr>
        <p:txBody>
          <a:bodyPr/>
          <a:lstStyle>
            <a:lvl1pPr marL="0" indent="0">
              <a:buNone/>
              <a:defRPr sz="3200"/>
            </a:lvl1pPr>
            <a:lvl2pPr marL="443453" indent="0">
              <a:buNone/>
              <a:defRPr sz="2800"/>
            </a:lvl2pPr>
            <a:lvl3pPr marL="886897" indent="0">
              <a:buNone/>
              <a:defRPr sz="2400"/>
            </a:lvl3pPr>
            <a:lvl4pPr marL="1330374" indent="0">
              <a:buNone/>
              <a:defRPr sz="2000"/>
            </a:lvl4pPr>
            <a:lvl5pPr marL="1773781" indent="0">
              <a:buNone/>
              <a:defRPr sz="2000"/>
            </a:lvl5pPr>
            <a:lvl6pPr marL="2217252" indent="0">
              <a:buNone/>
              <a:defRPr sz="2000"/>
            </a:lvl6pPr>
            <a:lvl7pPr marL="2660722" indent="0">
              <a:buNone/>
              <a:defRPr sz="2000"/>
            </a:lvl7pPr>
            <a:lvl8pPr marL="3104160" indent="0">
              <a:buNone/>
              <a:defRPr sz="2000"/>
            </a:lvl8pPr>
            <a:lvl9pPr marL="3547603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531" y="5367434"/>
            <a:ext cx="548609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43453" indent="0">
              <a:buNone/>
              <a:defRPr sz="1200"/>
            </a:lvl2pPr>
            <a:lvl3pPr marL="886897" indent="0">
              <a:buNone/>
              <a:defRPr sz="1000"/>
            </a:lvl3pPr>
            <a:lvl4pPr marL="1330374" indent="0">
              <a:buNone/>
              <a:defRPr sz="900"/>
            </a:lvl4pPr>
            <a:lvl5pPr marL="1773781" indent="0">
              <a:buNone/>
              <a:defRPr sz="900"/>
            </a:lvl5pPr>
            <a:lvl6pPr marL="2217252" indent="0">
              <a:buNone/>
              <a:defRPr sz="900"/>
            </a:lvl6pPr>
            <a:lvl7pPr marL="2660722" indent="0">
              <a:buNone/>
              <a:defRPr sz="900"/>
            </a:lvl7pPr>
            <a:lvl8pPr marL="3104160" indent="0">
              <a:buNone/>
              <a:defRPr sz="900"/>
            </a:lvl8pPr>
            <a:lvl9pPr marL="3547603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6724318-0E76-4F60-8399-7966FA2CCD86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8C2C46-35B1-40E0-B1E6-748DEB2AFA3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3128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575AC89-4113-45E1-909F-C11BE1B71458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4D6B30-32A1-419E-B086-4FDBE64A9F2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90005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7930" y="205619"/>
            <a:ext cx="2028210" cy="591910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8684" y="205619"/>
            <a:ext cx="5940420" cy="591910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28AA56-9CC6-47A8-BCF4-31444A9E656D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AF1BFF-6F11-4FFE-8BB8-8789B5FA5CD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3692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BleuClassic_43"/>
          <p:cNvPicPr>
            <a:picLocks noChangeAspect="1" noChangeArrowheads="1"/>
          </p:cNvPicPr>
          <p:nvPr/>
        </p:nvPicPr>
        <p:blipFill>
          <a:blip r:embed="rId2" cstate="print"/>
          <a:srcRect l="2480"/>
          <a:stretch>
            <a:fillRect/>
          </a:stretch>
        </p:blipFill>
        <p:spPr bwMode="auto">
          <a:xfrm>
            <a:off x="-1551" y="0"/>
            <a:ext cx="9145551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Freeform 6"/>
          <p:cNvSpPr>
            <a:spLocks/>
          </p:cNvSpPr>
          <p:nvPr/>
        </p:nvSpPr>
        <p:spPr bwMode="auto">
          <a:xfrm>
            <a:off x="2051550" y="1032637"/>
            <a:ext cx="6290861" cy="1489226"/>
          </a:xfrm>
          <a:custGeom>
            <a:avLst/>
            <a:gdLst/>
            <a:ahLst/>
            <a:cxnLst>
              <a:cxn ang="0">
                <a:pos x="4057" y="1"/>
              </a:cxn>
              <a:cxn ang="0">
                <a:pos x="4056" y="985"/>
              </a:cxn>
              <a:cxn ang="0">
                <a:pos x="0" y="985"/>
              </a:cxn>
              <a:cxn ang="0">
                <a:pos x="1" y="225"/>
              </a:cxn>
              <a:cxn ang="0">
                <a:pos x="229" y="0"/>
              </a:cxn>
              <a:cxn ang="0">
                <a:pos x="4054" y="3"/>
              </a:cxn>
            </a:cxnLst>
            <a:rect l="0" t="0" r="r" b="b"/>
            <a:pathLst>
              <a:path w="4057" h="985">
                <a:moveTo>
                  <a:pt x="4057" y="1"/>
                </a:moveTo>
                <a:lnTo>
                  <a:pt x="4056" y="985"/>
                </a:lnTo>
                <a:lnTo>
                  <a:pt x="0" y="985"/>
                </a:lnTo>
                <a:lnTo>
                  <a:pt x="1" y="225"/>
                </a:lnTo>
                <a:lnTo>
                  <a:pt x="229" y="0"/>
                </a:lnTo>
                <a:lnTo>
                  <a:pt x="4054" y="3"/>
                </a:lnTo>
              </a:path>
            </a:pathLst>
          </a:custGeom>
          <a:noFill/>
          <a:ln w="25400" cap="sq">
            <a:solidFill>
              <a:schemeClr val="bg1"/>
            </a:solidFill>
            <a:prstDash val="solid"/>
            <a:miter lim="800000"/>
            <a:headEnd/>
            <a:tailEnd/>
          </a:ln>
        </p:spPr>
        <p:txBody>
          <a:bodyPr lIns="91037" tIns="45522" rIns="91037" bIns="45522"/>
          <a:lstStyle/>
          <a:p>
            <a:pPr algn="l">
              <a:defRPr/>
            </a:pPr>
            <a:endParaRPr lang="en-US" sz="19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6" name="Picture 7" descr="Logo Block 26x26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78696" y="591243"/>
            <a:ext cx="913314" cy="8905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14" descr="CIB_BM_Sign_PP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5362727"/>
            <a:ext cx="9142449" cy="6848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403538" y="1200544"/>
            <a:ext cx="5251947" cy="517071"/>
          </a:xfrm>
        </p:spPr>
        <p:txBody>
          <a:bodyPr anchor="t"/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403538" y="1706953"/>
            <a:ext cx="5251947" cy="833059"/>
          </a:xfrm>
        </p:spPr>
        <p:txBody>
          <a:bodyPr/>
          <a:lstStyle>
            <a:lvl1pPr algn="r"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63232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EF23E29-7013-4AAE-982D-C9FF12FB0208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F3A944C-01A1-4AA1-B546-7A79BB112BC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356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588" y="4407205"/>
            <a:ext cx="7771702" cy="136222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588" y="2907393"/>
            <a:ext cx="7771702" cy="149981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189" indent="0">
              <a:buNone/>
              <a:defRPr sz="1800"/>
            </a:lvl2pPr>
            <a:lvl3pPr marL="910379" indent="0">
              <a:buNone/>
              <a:defRPr sz="1600"/>
            </a:lvl3pPr>
            <a:lvl4pPr marL="1365569" indent="0">
              <a:buNone/>
              <a:defRPr sz="1400"/>
            </a:lvl4pPr>
            <a:lvl5pPr marL="1820742" indent="0">
              <a:buNone/>
              <a:defRPr sz="1400"/>
            </a:lvl5pPr>
            <a:lvl6pPr marL="2275948" indent="0">
              <a:buNone/>
              <a:defRPr sz="1400"/>
            </a:lvl6pPr>
            <a:lvl7pPr marL="2731137" indent="0">
              <a:buNone/>
              <a:defRPr sz="1400"/>
            </a:lvl7pPr>
            <a:lvl8pPr marL="3186323" indent="0">
              <a:buNone/>
              <a:defRPr sz="1400"/>
            </a:lvl8pPr>
            <a:lvl9pPr marL="3641511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4B1061-7108-4615-97FB-92B8FFACBBE9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0F2087-4D71-428C-893A-9A465060E7F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600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8685" y="1096182"/>
            <a:ext cx="3983539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41112" y="1096182"/>
            <a:ext cx="3985090" cy="502859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D92A902-2563-4237-81FC-B9228EE40E11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4BBD64E-1234-4AAE-B549-F7CBDAC3DB1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3229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75" y="275167"/>
            <a:ext cx="8229134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442" y="1534584"/>
            <a:ext cx="4039362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9" indent="0">
              <a:buNone/>
              <a:defRPr sz="2000" b="1"/>
            </a:lvl2pPr>
            <a:lvl3pPr marL="910379" indent="0">
              <a:buNone/>
              <a:defRPr sz="1800" b="1"/>
            </a:lvl3pPr>
            <a:lvl4pPr marL="1365569" indent="0">
              <a:buNone/>
              <a:defRPr sz="1600" b="1"/>
            </a:lvl4pPr>
            <a:lvl5pPr marL="1820742" indent="0">
              <a:buNone/>
              <a:defRPr sz="1600" b="1"/>
            </a:lvl5pPr>
            <a:lvl6pPr marL="2275948" indent="0">
              <a:buNone/>
              <a:defRPr sz="1600" b="1"/>
            </a:lvl6pPr>
            <a:lvl7pPr marL="2731137" indent="0">
              <a:buNone/>
              <a:defRPr sz="1600" b="1"/>
            </a:lvl7pPr>
            <a:lvl8pPr marL="3186323" indent="0">
              <a:buNone/>
              <a:defRPr sz="1600" b="1"/>
            </a:lvl8pPr>
            <a:lvl9pPr marL="364151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442" y="2175716"/>
            <a:ext cx="4039362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654" y="1534584"/>
            <a:ext cx="4040913" cy="641048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189" indent="0">
              <a:buNone/>
              <a:defRPr sz="2000" b="1"/>
            </a:lvl2pPr>
            <a:lvl3pPr marL="910379" indent="0">
              <a:buNone/>
              <a:defRPr sz="1800" b="1"/>
            </a:lvl3pPr>
            <a:lvl4pPr marL="1365569" indent="0">
              <a:buNone/>
              <a:defRPr sz="1600" b="1"/>
            </a:lvl4pPr>
            <a:lvl5pPr marL="1820742" indent="0">
              <a:buNone/>
              <a:defRPr sz="1600" b="1"/>
            </a:lvl5pPr>
            <a:lvl6pPr marL="2275948" indent="0">
              <a:buNone/>
              <a:defRPr sz="1600" b="1"/>
            </a:lvl6pPr>
            <a:lvl7pPr marL="2731137" indent="0">
              <a:buNone/>
              <a:defRPr sz="1600" b="1"/>
            </a:lvl7pPr>
            <a:lvl8pPr marL="3186323" indent="0">
              <a:buNone/>
              <a:defRPr sz="1600" b="1"/>
            </a:lvl8pPr>
            <a:lvl9pPr marL="3641511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654" y="2175716"/>
            <a:ext cx="4040913" cy="395060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C8BDC0D-B918-4983-9F0D-693A9E3E42F1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17581C-5545-498E-B308-06FB363FE26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0663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9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DFACE49-462D-4C40-ACE4-F2735E98184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029266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116AC9B-5B60-4964-94E8-0A0ED0BF7A1B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4F2411-42BF-456A-90A9-75EBB0EDBF9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87437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5E18955-65A1-4015-888C-0260A3C94F16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81DD95-0DA2-4C31-8ADB-2F5686939B84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037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432" y="273670"/>
            <a:ext cx="3008201" cy="116114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736" y="273657"/>
            <a:ext cx="5110840" cy="585258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432" y="1434798"/>
            <a:ext cx="3008201" cy="4691440"/>
          </a:xfrm>
        </p:spPr>
        <p:txBody>
          <a:bodyPr/>
          <a:lstStyle>
            <a:lvl1pPr marL="0" indent="0">
              <a:buNone/>
              <a:defRPr sz="1400"/>
            </a:lvl1pPr>
            <a:lvl2pPr marL="455189" indent="0">
              <a:buNone/>
              <a:defRPr sz="1200"/>
            </a:lvl2pPr>
            <a:lvl3pPr marL="910379" indent="0">
              <a:buNone/>
              <a:defRPr sz="1000"/>
            </a:lvl3pPr>
            <a:lvl4pPr marL="1365569" indent="0">
              <a:buNone/>
              <a:defRPr sz="900"/>
            </a:lvl4pPr>
            <a:lvl5pPr marL="1820742" indent="0">
              <a:buNone/>
              <a:defRPr sz="900"/>
            </a:lvl5pPr>
            <a:lvl6pPr marL="2275948" indent="0">
              <a:buNone/>
              <a:defRPr sz="900"/>
            </a:lvl6pPr>
            <a:lvl7pPr marL="2731137" indent="0">
              <a:buNone/>
              <a:defRPr sz="900"/>
            </a:lvl7pPr>
            <a:lvl8pPr marL="3186323" indent="0">
              <a:buNone/>
              <a:defRPr sz="900"/>
            </a:lvl8pPr>
            <a:lvl9pPr marL="364151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474901-D371-47FB-8C07-17C74FC37364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E3A57A-C34B-4858-8592-543E923D4C75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92697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519" y="4800298"/>
            <a:ext cx="5486090" cy="56696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519" y="612411"/>
            <a:ext cx="5486090" cy="4115405"/>
          </a:xfrm>
        </p:spPr>
        <p:txBody>
          <a:bodyPr/>
          <a:lstStyle>
            <a:lvl1pPr marL="0" indent="0">
              <a:buNone/>
              <a:defRPr sz="3200"/>
            </a:lvl1pPr>
            <a:lvl2pPr marL="455189" indent="0">
              <a:buNone/>
              <a:defRPr sz="2800"/>
            </a:lvl2pPr>
            <a:lvl3pPr marL="910379" indent="0">
              <a:buNone/>
              <a:defRPr sz="2400"/>
            </a:lvl3pPr>
            <a:lvl4pPr marL="1365569" indent="0">
              <a:buNone/>
              <a:defRPr sz="2000"/>
            </a:lvl4pPr>
            <a:lvl5pPr marL="1820742" indent="0">
              <a:buNone/>
              <a:defRPr sz="2000"/>
            </a:lvl5pPr>
            <a:lvl6pPr marL="2275948" indent="0">
              <a:buNone/>
              <a:defRPr sz="2000"/>
            </a:lvl6pPr>
            <a:lvl7pPr marL="2731137" indent="0">
              <a:buNone/>
              <a:defRPr sz="2000"/>
            </a:lvl7pPr>
            <a:lvl8pPr marL="3186323" indent="0">
              <a:buNone/>
              <a:defRPr sz="2000"/>
            </a:lvl8pPr>
            <a:lvl9pPr marL="3641511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519" y="5367279"/>
            <a:ext cx="5486090" cy="804333"/>
          </a:xfrm>
        </p:spPr>
        <p:txBody>
          <a:bodyPr/>
          <a:lstStyle>
            <a:lvl1pPr marL="0" indent="0">
              <a:buNone/>
              <a:defRPr sz="1400"/>
            </a:lvl1pPr>
            <a:lvl2pPr marL="455189" indent="0">
              <a:buNone/>
              <a:defRPr sz="1200"/>
            </a:lvl2pPr>
            <a:lvl3pPr marL="910379" indent="0">
              <a:buNone/>
              <a:defRPr sz="1000"/>
            </a:lvl3pPr>
            <a:lvl4pPr marL="1365569" indent="0">
              <a:buNone/>
              <a:defRPr sz="900"/>
            </a:lvl4pPr>
            <a:lvl5pPr marL="1820742" indent="0">
              <a:buNone/>
              <a:defRPr sz="900"/>
            </a:lvl5pPr>
            <a:lvl6pPr marL="2275948" indent="0">
              <a:buNone/>
              <a:defRPr sz="900"/>
            </a:lvl6pPr>
            <a:lvl7pPr marL="2731137" indent="0">
              <a:buNone/>
              <a:defRPr sz="900"/>
            </a:lvl7pPr>
            <a:lvl8pPr marL="3186323" indent="0">
              <a:buNone/>
              <a:defRPr sz="900"/>
            </a:lvl8pPr>
            <a:lvl9pPr marL="364151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A7B259D-B45C-4B4D-8116-0A18F9400FFC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A8C2C46-35B1-40E0-B1E6-748DEB2AFA3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1199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18711AD-AFF5-40AD-B914-89BA2C23ABCF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74D6B30-32A1-419E-B086-4FDBE64A9F2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531127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97924" y="205619"/>
            <a:ext cx="2028210" cy="591910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08679" y="205619"/>
            <a:ext cx="5940420" cy="591910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6598CB-BB03-42AE-A23B-A6B4002D57BE}" type="datetime1">
              <a:rPr lang="en-US" smtClean="0">
                <a:solidFill>
                  <a:srgbClr val="000000"/>
                </a:solidFill>
              </a:rPr>
              <a:pPr/>
              <a:t>12/2/2014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AF1BFF-6F11-4FFE-8BB8-8789B5FA5CD6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5987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5" descr="constructionUK_essais_4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Box 3"/>
          <p:cNvSpPr txBox="1">
            <a:spLocks noChangeArrowheads="1"/>
          </p:cNvSpPr>
          <p:nvPr/>
        </p:nvSpPr>
        <p:spPr bwMode="gray">
          <a:xfrm>
            <a:off x="3453153" y="6429250"/>
            <a:ext cx="5517173" cy="431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431" tIns="45715" rIns="91431" bIns="45715" anchor="ctr"/>
          <a:lstStyle/>
          <a:p>
            <a:pPr eaLnBrk="0" hangingPunct="0">
              <a:lnSpc>
                <a:spcPct val="95000"/>
              </a:lnSpc>
              <a:spcBef>
                <a:spcPct val="50000"/>
              </a:spcBef>
            </a:pPr>
            <a:r>
              <a:rPr lang="en-GB" altLang="ja-JP" sz="1400" b="1" dirty="0">
                <a:solidFill>
                  <a:srgbClr val="FFFFFF"/>
                </a:solidFill>
                <a:ea typeface="楷体" panose="02010609060101010101" pitchFamily="49" charset="-122"/>
                <a:cs typeface="Arial Unicode MS" pitchFamily="34" charset="-128"/>
              </a:rPr>
              <a:t>STRICTLY CONFIDENTIAL</a:t>
            </a:r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2426677" y="1247731"/>
            <a:ext cx="5317881" cy="556794"/>
          </a:xfrm>
          <a:noFill/>
          <a:ln>
            <a:miter lim="800000"/>
            <a:headEnd/>
            <a:tailEnd/>
          </a:ln>
        </p:spPr>
        <p:txBody>
          <a:bodyPr vert="horz" lIns="0" tIns="0" rIns="0" bIns="0" rtlCol="0" anchor="ctr">
            <a:normAutofit/>
          </a:bodyPr>
          <a:lstStyle>
            <a:lvl1pPr algn="r">
              <a:defRPr kumimoji="0" lang="fr-FR" altLang="ja-JP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楷体" panose="02010609060101010101" pitchFamily="49" charset="-122"/>
                <a:cs typeface="+mj-cs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Click to enter title</a:t>
            </a:r>
            <a:endParaRPr lang="fr-FR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1" hasCustomPrompt="1"/>
          </p:nvPr>
        </p:nvSpPr>
        <p:spPr>
          <a:xfrm>
            <a:off x="2426677" y="1939914"/>
            <a:ext cx="5317881" cy="276225"/>
          </a:xfrm>
          <a:noFill/>
          <a:ln>
            <a:miter lim="800000"/>
            <a:headEnd/>
            <a:tailEnd/>
          </a:ln>
        </p:spPr>
        <p:txBody>
          <a:bodyPr vert="horz" lIns="0" tIns="0" rIns="0" bIns="0" rtlCol="0">
            <a:normAutofit/>
          </a:bodyPr>
          <a:lstStyle>
            <a:lvl1pPr marL="0" indent="0" algn="r" defTabSz="914400" rtl="0" eaLnBrk="0" fontAlgn="base" hangingPunct="0">
              <a:lnSpc>
                <a:spcPct val="100000"/>
              </a:lnSpc>
              <a:spcBef>
                <a:spcPct val="50000"/>
              </a:spcBef>
              <a:spcAft>
                <a:spcPct val="15000"/>
              </a:spcAft>
              <a:buClrTx/>
              <a:buSzPct val="70000"/>
              <a:buFont typeface="Wingdings" pitchFamily="2" charset="2"/>
              <a:buNone/>
              <a:defRPr lang="en-US" sz="1400" b="1" baseline="0" dirty="0" smtClean="0">
                <a:solidFill>
                  <a:srgbClr val="FFFFFF"/>
                </a:solidFill>
                <a:latin typeface="+mn-lt"/>
                <a:ea typeface="楷体" panose="02010609060101010101" pitchFamily="49" charset="-122"/>
                <a:cs typeface="+mn-cs"/>
              </a:defRPr>
            </a:lvl1pPr>
          </a:lstStyle>
          <a:p>
            <a:pPr lvl="0"/>
            <a:r>
              <a:rPr lang="en-US" dirty="0" smtClean="0"/>
              <a:t>Click to enter subtitle</a:t>
            </a:r>
          </a:p>
        </p:txBody>
      </p:sp>
      <p:pic>
        <p:nvPicPr>
          <p:cNvPr id="11" name="Picture 5" descr="CIB_BM_Sign_PPT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5362575"/>
            <a:ext cx="9142535" cy="685800"/>
          </a:xfrm>
          <a:prstGeom prst="rect">
            <a:avLst/>
          </a:prstGeom>
          <a:noFill/>
        </p:spPr>
      </p:pic>
      <p:pic>
        <p:nvPicPr>
          <p:cNvPr id="13" name="Picture 7" descr="Logo Block 26x26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197" y="601664"/>
            <a:ext cx="863111" cy="935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22"/>
          <p:cNvGrpSpPr>
            <a:grpSpLocks/>
          </p:cNvGrpSpPr>
          <p:nvPr userDrawn="1"/>
        </p:nvGrpSpPr>
        <p:grpSpPr bwMode="auto">
          <a:xfrm>
            <a:off x="2422281" y="601664"/>
            <a:ext cx="6370026" cy="2027237"/>
            <a:chOff x="1323" y="391"/>
            <a:chExt cx="4347" cy="1277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323" y="683"/>
              <a:ext cx="4057" cy="985"/>
            </a:xfrm>
            <a:custGeom>
              <a:avLst/>
              <a:gdLst>
                <a:gd name="T0" fmla="*/ 4057 w 4057"/>
                <a:gd name="T1" fmla="*/ 1 h 985"/>
                <a:gd name="T2" fmla="*/ 4056 w 4057"/>
                <a:gd name="T3" fmla="*/ 985 h 985"/>
                <a:gd name="T4" fmla="*/ 0 w 4057"/>
                <a:gd name="T5" fmla="*/ 985 h 985"/>
                <a:gd name="T6" fmla="*/ 1 w 4057"/>
                <a:gd name="T7" fmla="*/ 225 h 985"/>
                <a:gd name="T8" fmla="*/ 229 w 4057"/>
                <a:gd name="T9" fmla="*/ 0 h 985"/>
                <a:gd name="T10" fmla="*/ 4054 w 4057"/>
                <a:gd name="T11" fmla="*/ 3 h 98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4057" h="985">
                  <a:moveTo>
                    <a:pt x="4057" y="1"/>
                  </a:moveTo>
                  <a:lnTo>
                    <a:pt x="4056" y="985"/>
                  </a:lnTo>
                  <a:lnTo>
                    <a:pt x="0" y="985"/>
                  </a:lnTo>
                  <a:lnTo>
                    <a:pt x="1" y="225"/>
                  </a:lnTo>
                  <a:lnTo>
                    <a:pt x="229" y="0"/>
                  </a:lnTo>
                  <a:lnTo>
                    <a:pt x="4054" y="3"/>
                  </a:lnTo>
                </a:path>
              </a:pathLst>
            </a:custGeom>
            <a:noFill/>
            <a:ln w="25400" cap="sq">
              <a:solidFill>
                <a:srgbClr val="FFFFF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pPr algn="l"/>
              <a:endParaRPr lang="fr-FR" sz="1900" smtClean="0">
                <a:solidFill>
                  <a:srgbClr val="000000"/>
                </a:solidFill>
                <a:ea typeface="楷体" panose="02010609060101010101" pitchFamily="49" charset="-122"/>
              </a:endParaRPr>
            </a:p>
          </p:txBody>
        </p:sp>
        <p:pic>
          <p:nvPicPr>
            <p:cNvPr id="17" name="Picture 7" descr="Logo Block 26x2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1" y="391"/>
              <a:ext cx="589" cy="5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55920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9" y="1187517"/>
            <a:ext cx="7385538" cy="511492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41608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com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9" y="1187517"/>
            <a:ext cx="7385538" cy="511492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92338"/>
            <a:ext cx="1465163" cy="5075237"/>
          </a:xfrm>
        </p:spPr>
        <p:txBody>
          <a:bodyPr/>
          <a:lstStyle>
            <a:lvl1pPr marL="0" indent="0"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en-US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1pPr>
            <a:lvl2pPr marL="180975" indent="-180975">
              <a:buClr>
                <a:srgbClr val="00AB8E"/>
              </a:buClr>
              <a:defRPr lang="fr-FR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2pPr>
          </a:lstStyle>
          <a:p>
            <a:pPr lvl="0"/>
            <a:r>
              <a:rPr lang="en-US" noProof="0" dirty="0" smtClean="0"/>
              <a:t>Click to add comment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8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13475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6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68866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5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72FE47-75FA-4711-8EEE-95C4A9CD4A7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7015957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baseline="0"/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281189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8" y="1487488"/>
            <a:ext cx="3458308" cy="483870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5509846" y="1487488"/>
            <a:ext cx="3458308" cy="483870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92338"/>
            <a:ext cx="1465163" cy="5075237"/>
          </a:xfrm>
        </p:spPr>
        <p:txBody>
          <a:bodyPr/>
          <a:lstStyle>
            <a:lvl1pPr marL="0" indent="0"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en-US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1pPr>
            <a:lvl2pPr marL="180975" indent="-180975">
              <a:buClr>
                <a:srgbClr val="00AB8E"/>
              </a:buClr>
              <a:defRPr lang="fr-FR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2pPr>
          </a:lstStyle>
          <a:p>
            <a:pPr lvl="0"/>
            <a:r>
              <a:rPr lang="en-US" noProof="0" dirty="0" smtClean="0"/>
              <a:t>Click to add comment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73035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9" y="1487493"/>
            <a:ext cx="7385538" cy="208597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94341" y="4135439"/>
            <a:ext cx="7373815" cy="219075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92338"/>
            <a:ext cx="1465163" cy="5075237"/>
          </a:xfrm>
        </p:spPr>
        <p:txBody>
          <a:bodyPr/>
          <a:lstStyle>
            <a:lvl1pPr marL="0" indent="0"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en-US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1pPr>
            <a:lvl2pPr marL="180975" indent="-180975">
              <a:buClr>
                <a:srgbClr val="00AB8E"/>
              </a:buClr>
              <a:defRPr lang="fr-FR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2pPr>
          </a:lstStyle>
          <a:p>
            <a:pPr lvl="0"/>
            <a:r>
              <a:rPr lang="en-US" noProof="0" dirty="0" smtClean="0"/>
              <a:t>Click to add comment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20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87061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qua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8" y="1487493"/>
            <a:ext cx="3458308" cy="208597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94338" y="4135439"/>
            <a:ext cx="3458308" cy="219075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509848" y="1487493"/>
            <a:ext cx="3470031" cy="208597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>
          <a:xfrm>
            <a:off x="5509848" y="4135438"/>
            <a:ext cx="3470031" cy="219075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92338"/>
            <a:ext cx="1465163" cy="5075237"/>
          </a:xfrm>
        </p:spPr>
        <p:txBody>
          <a:bodyPr/>
          <a:lstStyle>
            <a:lvl1pPr marL="0" indent="0"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en-US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1pPr>
            <a:lvl2pPr marL="180975" indent="-180975">
              <a:buClr>
                <a:srgbClr val="00AB8E"/>
              </a:buClr>
              <a:defRPr lang="fr-FR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2pPr>
          </a:lstStyle>
          <a:p>
            <a:pPr lvl="0"/>
            <a:r>
              <a:rPr lang="en-US" noProof="0" dirty="0" smtClean="0"/>
              <a:t>Click to add comment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22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95108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qua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94338" y="1487493"/>
            <a:ext cx="3458308" cy="2085975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1594338" y="4135439"/>
            <a:ext cx="3458308" cy="219075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5509848" y="1487488"/>
            <a:ext cx="3470031" cy="4838700"/>
          </a:xfrm>
        </p:spPr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  <a:lvl2pPr>
              <a:defRPr baseline="0">
                <a:ea typeface="楷体" panose="02010609060101010101" pitchFamily="49" charset="-122"/>
              </a:defRPr>
            </a:lvl2pPr>
            <a:lvl3pPr>
              <a:defRPr baseline="0">
                <a:ea typeface="楷体" panose="02010609060101010101" pitchFamily="49" charset="-122"/>
              </a:defRPr>
            </a:lvl3pPr>
            <a:lvl4pPr>
              <a:defRPr baseline="0">
                <a:ea typeface="楷体" panose="02010609060101010101" pitchFamily="49" charset="-122"/>
              </a:defRPr>
            </a:lvl4pPr>
            <a:lvl5pPr>
              <a:defRPr baseline="0">
                <a:ea typeface="楷体" panose="02010609060101010101" pitchFamily="49" charset="-122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 baseline="0"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0" y="1192338"/>
            <a:ext cx="1465163" cy="5075237"/>
          </a:xfrm>
        </p:spPr>
        <p:txBody>
          <a:bodyPr/>
          <a:lstStyle>
            <a:lvl1pPr marL="0" indent="0"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en-US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1pPr>
            <a:lvl2pPr marL="180975" indent="-180975">
              <a:buClr>
                <a:srgbClr val="00AB8E"/>
              </a:buClr>
              <a:defRPr lang="fr-FR" sz="1000" kern="1200" baseline="0" dirty="0" smtClean="0">
                <a:solidFill>
                  <a:srgbClr val="00AB8E"/>
                </a:solidFill>
                <a:latin typeface="Arial" charset="0"/>
                <a:ea typeface="楷体" panose="02010609060101010101" pitchFamily="49" charset="-122"/>
                <a:cs typeface="Arial" charset="0"/>
                <a:sym typeface="Wingdings" pitchFamily="2" charset="2"/>
              </a:defRPr>
            </a:lvl2pPr>
          </a:lstStyle>
          <a:p>
            <a:pPr lvl="0"/>
            <a:r>
              <a:rPr lang="en-US" noProof="0" dirty="0" smtClean="0"/>
              <a:t>Click to add comment</a:t>
            </a:r>
          </a:p>
          <a:p>
            <a:pPr lvl="1"/>
            <a:r>
              <a:rPr lang="en-US" noProof="0" dirty="0" smtClean="0"/>
              <a:t>Second level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597346" y="565200"/>
            <a:ext cx="7541400" cy="275088"/>
          </a:xfr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/>
          <a:lstStyle>
            <a:lvl1pPr algn="l" defTabSz="957263" rtl="0" fontAlgn="base">
              <a:spcBef>
                <a:spcPct val="0"/>
              </a:spcBef>
              <a:spcAft>
                <a:spcPct val="0"/>
              </a:spcAft>
              <a:buNone/>
              <a:defRPr lang="fr-FR" sz="1600" b="1" kern="1200" baseline="0" dirty="0">
                <a:solidFill>
                  <a:srgbClr val="78848A"/>
                </a:solidFill>
                <a:latin typeface="Arial" charset="0"/>
                <a:ea typeface="楷体" panose="02010609060101010101" pitchFamily="49" charset="-122"/>
                <a:cs typeface="Arial Unicode MS" pitchFamily="34" charset="-128"/>
              </a:defRPr>
            </a:lvl1pPr>
          </a:lstStyle>
          <a:p>
            <a:pPr lvl="0"/>
            <a:r>
              <a:rPr lang="en-US" noProof="0" dirty="0" smtClean="0"/>
              <a:t>Click to add subtit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195823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2" name="Espace réservé du numéro de diapositive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aseline="0"/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4110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4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00F279-13A6-495E-A091-19FD1F5C7AF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2766452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8195C4-28C8-4CD0-82BD-4899DBF6E96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80787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3B2865-300B-4F1B-8389-D36A1D295FB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57078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7.jpe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tags" Target="../tags/tag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7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12.jpe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4" descr="constructionUK_43in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69013"/>
            <a:ext cx="9145588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72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754938" y="6264275"/>
            <a:ext cx="8255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 smtClean="0"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40973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351463" y="6265863"/>
            <a:ext cx="231933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smtClean="0"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40974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86788" y="6264275"/>
            <a:ext cx="21907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smtClean="0"/>
            </a:lvl1pPr>
          </a:lstStyle>
          <a:p>
            <a:pPr>
              <a:defRPr/>
            </a:pPr>
            <a:fld id="{763F2377-CEA2-48F0-AD18-33CFA71E199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2054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896938" y="369888"/>
            <a:ext cx="7896225" cy="55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quez et modifiez le titre</a:t>
            </a:r>
          </a:p>
        </p:txBody>
      </p:sp>
      <p:sp>
        <p:nvSpPr>
          <p:cNvPr id="2055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1700" y="1311275"/>
            <a:ext cx="7899400" cy="454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quez pour modifier les styles du texte du masque</a:t>
            </a:r>
          </a:p>
          <a:p>
            <a:pPr lvl="1"/>
            <a:r>
              <a:rPr lang="en-GB" altLang="en-US" smtClean="0"/>
              <a:t>Deuxième niveau</a:t>
            </a:r>
          </a:p>
          <a:p>
            <a:pPr lvl="2"/>
            <a:r>
              <a:rPr lang="en-GB" altLang="en-US" smtClean="0"/>
              <a:t>Troisième niveau</a:t>
            </a:r>
          </a:p>
          <a:p>
            <a:pPr lvl="3"/>
            <a:r>
              <a:rPr lang="en-GB" altLang="en-US" smtClean="0"/>
              <a:t>Quatrième niveau</a:t>
            </a:r>
          </a:p>
          <a:p>
            <a:pPr lvl="4"/>
            <a:r>
              <a:rPr lang="en-GB" altLang="en-US" smtClean="0"/>
              <a:t>Cinquième niveau</a:t>
            </a:r>
          </a:p>
        </p:txBody>
      </p:sp>
      <p:grpSp>
        <p:nvGrpSpPr>
          <p:cNvPr id="2056" name="Group 21"/>
          <p:cNvGrpSpPr>
            <a:grpSpLocks/>
          </p:cNvGrpSpPr>
          <p:nvPr/>
        </p:nvGrpSpPr>
        <p:grpSpPr bwMode="auto">
          <a:xfrm>
            <a:off x="304800" y="938213"/>
            <a:ext cx="8491538" cy="392112"/>
            <a:chOff x="192" y="591"/>
            <a:chExt cx="5349" cy="247"/>
          </a:xfrm>
        </p:grpSpPr>
        <p:sp>
          <p:nvSpPr>
            <p:cNvPr id="2057" name="Line 22"/>
            <p:cNvSpPr>
              <a:spLocks noChangeShapeType="1"/>
            </p:cNvSpPr>
            <p:nvPr/>
          </p:nvSpPr>
          <p:spPr bwMode="auto">
            <a:xfrm flipH="1">
              <a:off x="431" y="595"/>
              <a:ext cx="511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2058" name="Line 23"/>
            <p:cNvSpPr>
              <a:spLocks noChangeShapeType="1"/>
            </p:cNvSpPr>
            <p:nvPr/>
          </p:nvSpPr>
          <p:spPr bwMode="auto">
            <a:xfrm flipV="1">
              <a:off x="192" y="591"/>
              <a:ext cx="247" cy="24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65113" indent="-265113" algn="l" rtl="0" eaLnBrk="0" fontAlgn="base" hangingPunct="0">
        <a:spcBef>
          <a:spcPct val="20000"/>
        </a:spcBef>
        <a:spcAft>
          <a:spcPct val="0"/>
        </a:spcAft>
        <a:buFont typeface="Wingdings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27063" indent="-182563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>
          <a:solidFill>
            <a:schemeClr val="tx1"/>
          </a:solidFill>
          <a:latin typeface="+mn-lt"/>
        </a:defRPr>
      </a:lvl2pPr>
      <a:lvl3pPr marL="987425" indent="-180975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 sz="1600">
          <a:solidFill>
            <a:schemeClr val="tx1"/>
          </a:solidFill>
          <a:latin typeface="+mn-lt"/>
        </a:defRPr>
      </a:lvl3pPr>
      <a:lvl4pPr marL="1344613" indent="-177800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 sz="1300">
          <a:solidFill>
            <a:srgbClr val="00915A"/>
          </a:solidFill>
          <a:latin typeface="+mn-lt"/>
        </a:defRPr>
      </a:lvl4pPr>
      <a:lvl5pPr marL="1700213" indent="-176213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5pPr>
      <a:lvl6pPr marL="21574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6pPr>
      <a:lvl7pPr marL="26146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7pPr>
      <a:lvl8pPr marL="30718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8pPr>
      <a:lvl9pPr marL="35290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4" descr="constructionUK_43int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69013"/>
            <a:ext cx="9145588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60" name="Rectangle 12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754938" y="6264275"/>
            <a:ext cx="825500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 smtClean="0"/>
            </a:lvl1pPr>
          </a:lstStyle>
          <a:p>
            <a:pPr>
              <a:defRPr/>
            </a:pPr>
            <a:r>
              <a:rPr lang="fr-FR" altLang="en-US" smtClean="0"/>
              <a:t>00/00/0000</a:t>
            </a:r>
            <a:endParaRPr lang="en-GB" altLang="en-US"/>
          </a:p>
        </p:txBody>
      </p:sp>
      <p:sp>
        <p:nvSpPr>
          <p:cNvPr id="53261" name="Rectangle 13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351463" y="6265863"/>
            <a:ext cx="2319337" cy="187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smtClean="0"/>
            </a:lvl1pPr>
          </a:lstStyle>
          <a:p>
            <a:pPr>
              <a:defRPr/>
            </a:pPr>
            <a:r>
              <a:rPr lang="en-GB" altLang="en-US" smtClean="0"/>
              <a:t>Department / name</a:t>
            </a:r>
            <a:endParaRPr lang="en-GB" altLang="en-US"/>
          </a:p>
        </p:txBody>
      </p:sp>
      <p:sp>
        <p:nvSpPr>
          <p:cNvPr id="53262" name="Rectangle 1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86788" y="6264275"/>
            <a:ext cx="219075" cy="185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 smtClean="0"/>
            </a:lvl1pPr>
          </a:lstStyle>
          <a:p>
            <a:pPr>
              <a:defRPr/>
            </a:pPr>
            <a:fld id="{F3672BAA-6777-4507-9AE6-01156D06F848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3078" name="Rectangle 19"/>
          <p:cNvSpPr>
            <a:spLocks noGrp="1" noChangeArrowheads="1"/>
          </p:cNvSpPr>
          <p:nvPr>
            <p:ph type="title"/>
          </p:nvPr>
        </p:nvSpPr>
        <p:spPr bwMode="auto">
          <a:xfrm>
            <a:off x="896938" y="369888"/>
            <a:ext cx="7896225" cy="557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quez et modifiez le titre</a:t>
            </a:r>
          </a:p>
        </p:txBody>
      </p:sp>
      <p:sp>
        <p:nvSpPr>
          <p:cNvPr id="3079" name="Rectangle 20"/>
          <p:cNvSpPr>
            <a:spLocks noGrp="1" noChangeArrowheads="1"/>
          </p:cNvSpPr>
          <p:nvPr>
            <p:ph type="body" idx="1"/>
          </p:nvPr>
        </p:nvSpPr>
        <p:spPr bwMode="auto">
          <a:xfrm>
            <a:off x="901700" y="1311275"/>
            <a:ext cx="7899400" cy="454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quez pour modifier les styles du texte du masque</a:t>
            </a:r>
          </a:p>
          <a:p>
            <a:pPr lvl="1"/>
            <a:r>
              <a:rPr lang="en-GB" altLang="en-US" smtClean="0"/>
              <a:t>Deuxième niveau</a:t>
            </a:r>
          </a:p>
          <a:p>
            <a:pPr lvl="2"/>
            <a:r>
              <a:rPr lang="en-GB" altLang="en-US" smtClean="0"/>
              <a:t>Troisième niveau</a:t>
            </a:r>
          </a:p>
          <a:p>
            <a:pPr lvl="3"/>
            <a:r>
              <a:rPr lang="en-GB" altLang="en-US" smtClean="0"/>
              <a:t>Quatrième niveau</a:t>
            </a:r>
          </a:p>
          <a:p>
            <a:pPr lvl="4"/>
            <a:r>
              <a:rPr lang="en-GB" altLang="en-US" smtClean="0"/>
              <a:t>Cinquième niveau</a:t>
            </a:r>
          </a:p>
        </p:txBody>
      </p:sp>
      <p:grpSp>
        <p:nvGrpSpPr>
          <p:cNvPr id="3080" name="Group 21"/>
          <p:cNvGrpSpPr>
            <a:grpSpLocks/>
          </p:cNvGrpSpPr>
          <p:nvPr/>
        </p:nvGrpSpPr>
        <p:grpSpPr bwMode="auto">
          <a:xfrm>
            <a:off x="304800" y="938213"/>
            <a:ext cx="8491538" cy="392112"/>
            <a:chOff x="192" y="591"/>
            <a:chExt cx="5349" cy="247"/>
          </a:xfrm>
        </p:grpSpPr>
        <p:sp>
          <p:nvSpPr>
            <p:cNvPr id="3081" name="Line 22"/>
            <p:cNvSpPr>
              <a:spLocks noChangeShapeType="1"/>
            </p:cNvSpPr>
            <p:nvPr/>
          </p:nvSpPr>
          <p:spPr bwMode="auto">
            <a:xfrm flipH="1">
              <a:off x="431" y="595"/>
              <a:ext cx="5110" cy="0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  <p:sp>
          <p:nvSpPr>
            <p:cNvPr id="3082" name="Line 23"/>
            <p:cNvSpPr>
              <a:spLocks noChangeShapeType="1"/>
            </p:cNvSpPr>
            <p:nvPr/>
          </p:nvSpPr>
          <p:spPr bwMode="auto">
            <a:xfrm flipV="1">
              <a:off x="192" y="591"/>
              <a:ext cx="247" cy="247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14" r:id="rId8"/>
    <p:sldLayoutId id="2147483715" r:id="rId9"/>
    <p:sldLayoutId id="2147483716" r:id="rId10"/>
    <p:sldLayoutId id="2147483717" r:id="rId11"/>
  </p:sldLayoutIdLst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</a:defRPr>
      </a:lvl9pPr>
    </p:titleStyle>
    <p:bodyStyle>
      <a:lvl1pPr marL="265113" indent="-265113" algn="l" rtl="0" eaLnBrk="0" fontAlgn="base" hangingPunct="0">
        <a:spcBef>
          <a:spcPct val="20000"/>
        </a:spcBef>
        <a:spcAft>
          <a:spcPct val="0"/>
        </a:spcAft>
        <a:buFont typeface="Wingdings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27063" indent="-182563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>
          <a:solidFill>
            <a:schemeClr val="tx1"/>
          </a:solidFill>
          <a:latin typeface="+mn-lt"/>
        </a:defRPr>
      </a:lvl2pPr>
      <a:lvl3pPr marL="987425" indent="-180975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 sz="1600">
          <a:solidFill>
            <a:schemeClr val="tx1"/>
          </a:solidFill>
          <a:latin typeface="+mn-lt"/>
        </a:defRPr>
      </a:lvl3pPr>
      <a:lvl4pPr marL="1344613" indent="-177800" algn="l" rtl="0" eaLnBrk="0" fontAlgn="base" hangingPunct="0">
        <a:spcBef>
          <a:spcPct val="20000"/>
        </a:spcBef>
        <a:spcAft>
          <a:spcPct val="0"/>
        </a:spcAft>
        <a:buClr>
          <a:srgbClr val="00915A"/>
        </a:buClr>
        <a:buFont typeface="Wingdings" charset="2"/>
        <a:buChar char="§"/>
        <a:defRPr sz="1300">
          <a:solidFill>
            <a:srgbClr val="00915A"/>
          </a:solidFill>
          <a:latin typeface="+mn-lt"/>
        </a:defRPr>
      </a:lvl4pPr>
      <a:lvl5pPr marL="1700213" indent="-176213" algn="l" rtl="0" eaLnBrk="0" fontAlgn="base" hangingPunct="0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5pPr>
      <a:lvl6pPr marL="21574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6pPr>
      <a:lvl7pPr marL="26146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7pPr>
      <a:lvl8pPr marL="30718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8pPr>
      <a:lvl9pPr marL="3529013" indent="-176213" algn="l" rtl="0" fontAlgn="base">
        <a:spcBef>
          <a:spcPct val="20000"/>
        </a:spcBef>
        <a:spcAft>
          <a:spcPct val="0"/>
        </a:spcAft>
        <a:buFont typeface="Wingdings" charset="2"/>
        <a:buChar char="§"/>
        <a:defRPr sz="1300">
          <a:solidFill>
            <a:srgbClr val="00915A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82019029"/>
              </p:ext>
            </p:extLst>
          </p:nvPr>
        </p:nvGraphicFramePr>
        <p:xfrm>
          <a:off x="1928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28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 descr="CIB BB alternative PPT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0" y="6271381"/>
            <a:ext cx="9142449" cy="38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14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08654" y="205619"/>
            <a:ext cx="7135948" cy="28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14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37" y="1096182"/>
            <a:ext cx="8098882" cy="502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Bulleted text</a:t>
            </a:r>
          </a:p>
          <a:p>
            <a:pPr lvl="2"/>
            <a:r>
              <a:rPr lang="en-US" smtClean="0"/>
              <a:t>Bulleted text</a:t>
            </a:r>
          </a:p>
          <a:p>
            <a:pPr lvl="3"/>
            <a:r>
              <a:rPr lang="en-US" smtClean="0"/>
              <a:t>Bulleted text</a:t>
            </a:r>
          </a:p>
        </p:txBody>
      </p:sp>
      <p:sp>
        <p:nvSpPr>
          <p:cNvPr id="84997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51296" y="6330526"/>
            <a:ext cx="1434322" cy="18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 defTabSz="890357">
              <a:defRPr/>
            </a:pPr>
            <a:fld id="{D0F18092-1887-49E4-8646-682A93686EBA}" type="datetime1">
              <a:rPr lang="en-US" smtClean="0">
                <a:solidFill>
                  <a:prstClr val="black"/>
                </a:solidFill>
                <a:latin typeface="Arial"/>
              </a:rPr>
              <a:pPr defTabSz="890357">
                <a:defRPr/>
              </a:pPr>
              <a:t>12/2/2014</a:t>
            </a:fld>
            <a:endParaRPr lang="en-US" noProof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84998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62" y="520096"/>
            <a:ext cx="7687968" cy="151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defTabSz="890357">
              <a:defRPr/>
            </a:pPr>
            <a:endParaRPr lang="en-US"/>
          </a:p>
        </p:txBody>
      </p:sp>
      <p:sp>
        <p:nvSpPr>
          <p:cNvPr id="8499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30166" y="6309185"/>
            <a:ext cx="182973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 defTabSz="890357">
              <a:defRPr/>
            </a:pPr>
            <a:fld id="{72F66FE8-DF71-41E8-8F03-2A360E8A6E83}" type="slidenum">
              <a:rPr lang="en-US" smtClean="0">
                <a:solidFill>
                  <a:prstClr val="black"/>
                </a:solidFill>
                <a:latin typeface="Arial"/>
              </a:rPr>
              <a:pPr defTabSz="890357">
                <a:defRPr/>
              </a:pPr>
              <a:t>‹#›</a:t>
            </a:fld>
            <a:endParaRPr lang="en-US">
              <a:solidFill>
                <a:prstClr val="black"/>
              </a:solidFill>
              <a:latin typeface="Arial"/>
            </a:endParaRPr>
          </a:p>
        </p:txBody>
      </p:sp>
      <p:sp>
        <p:nvSpPr>
          <p:cNvPr id="85000" name="Line 8"/>
          <p:cNvSpPr>
            <a:spLocks noChangeShapeType="1"/>
          </p:cNvSpPr>
          <p:nvPr/>
        </p:nvSpPr>
        <p:spPr bwMode="auto">
          <a:xfrm>
            <a:off x="8619891" y="6363792"/>
            <a:ext cx="0" cy="10885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89024" tIns="44502" rIns="89024" bIns="44502"/>
          <a:lstStyle/>
          <a:p>
            <a:pPr algn="l" defTabSz="890357">
              <a:defRPr/>
            </a:pPr>
            <a:endParaRPr lang="en-US" sz="1400">
              <a:solidFill>
                <a:prstClr val="black"/>
              </a:solidFill>
              <a:latin typeface="Arial"/>
            </a:endParaRPr>
          </a:p>
        </p:txBody>
      </p:sp>
      <p:sp>
        <p:nvSpPr>
          <p:cNvPr id="85001" name="Freeform 9"/>
          <p:cNvSpPr>
            <a:spLocks/>
          </p:cNvSpPr>
          <p:nvPr/>
        </p:nvSpPr>
        <p:spPr bwMode="auto">
          <a:xfrm>
            <a:off x="312320" y="524043"/>
            <a:ext cx="8829224" cy="238881"/>
          </a:xfrm>
          <a:custGeom>
            <a:avLst/>
            <a:gdLst/>
            <a:ahLst/>
            <a:cxnLst>
              <a:cxn ang="0">
                <a:pos x="0" y="158"/>
              </a:cxn>
              <a:cxn ang="0">
                <a:pos x="160" y="0"/>
              </a:cxn>
              <a:cxn ang="0">
                <a:pos x="5552" y="0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</p:spPr>
        <p:txBody>
          <a:bodyPr lIns="89024" tIns="44502" rIns="89024" bIns="44502"/>
          <a:lstStyle/>
          <a:p>
            <a:pPr algn="l" defTabSz="890357">
              <a:defRPr/>
            </a:pPr>
            <a:endParaRPr lang="en-US" sz="1400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5819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 dt="0"/>
  <p:txStyles>
    <p:titleStyle>
      <a:lvl1pPr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45110"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890211"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35335"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780419" algn="l" defTabSz="921121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algn="l" defTabSz="921121" rtl="0" eaLnBrk="1" fontAlgn="base" hangingPunct="1">
        <a:spcBef>
          <a:spcPct val="30000"/>
        </a:spcBef>
        <a:spcAft>
          <a:spcPct val="10000"/>
        </a:spcAft>
        <a:defRPr sz="1100">
          <a:solidFill>
            <a:srgbClr val="000000"/>
          </a:solidFill>
          <a:latin typeface="+mn-lt"/>
          <a:ea typeface="+mn-ea"/>
          <a:cs typeface="+mn-cs"/>
        </a:defRPr>
      </a:lvl1pPr>
      <a:lvl2pPr marL="176195" indent="-174655" algn="l" defTabSz="921121" rtl="0" eaLnBrk="1" fontAlgn="base" hangingPunct="1">
        <a:spcBef>
          <a:spcPct val="30000"/>
        </a:spcBef>
        <a:spcAft>
          <a:spcPct val="10000"/>
        </a:spcAft>
        <a:buClr>
          <a:srgbClr val="00915A"/>
        </a:buClr>
        <a:buSzPct val="80000"/>
        <a:buFont typeface="Wingdings" pitchFamily="2" charset="2"/>
        <a:buChar char="n"/>
        <a:defRPr sz="1100">
          <a:solidFill>
            <a:srgbClr val="000000"/>
          </a:solidFill>
          <a:latin typeface="+mn-lt"/>
          <a:cs typeface="+mn-cs"/>
        </a:defRPr>
      </a:lvl2pPr>
      <a:lvl3pPr marL="347765" indent="-170022" algn="l" defTabSz="921121" rtl="0" eaLnBrk="1" fontAlgn="base" hangingPunct="1">
        <a:spcBef>
          <a:spcPct val="10000"/>
        </a:spcBef>
        <a:spcAft>
          <a:spcPct val="10000"/>
        </a:spcAft>
        <a:buClr>
          <a:srgbClr val="00915A"/>
        </a:buClr>
        <a:buSzPct val="120000"/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3pPr>
      <a:lvl4pPr marL="528564" indent="-179280" algn="l" defTabSz="921121" rtl="0" eaLnBrk="1" fontAlgn="base" hangingPunct="1">
        <a:spcBef>
          <a:spcPct val="10000"/>
        </a:spcBef>
        <a:spcAft>
          <a:spcPct val="0"/>
        </a:spcAft>
        <a:buClr>
          <a:srgbClr val="00915A"/>
        </a:buClr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4pPr>
      <a:lvl5pPr marL="1047854" indent="-253465" algn="l" defTabSz="921121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5pPr>
      <a:lvl6pPr marL="1492965" indent="-253465" algn="l" defTabSz="921121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6pPr>
      <a:lvl7pPr marL="1938060" indent="-253465" algn="l" defTabSz="921121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7pPr>
      <a:lvl8pPr marL="2383181" indent="-253465" algn="l" defTabSz="921121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8pPr>
      <a:lvl9pPr marL="2828286" indent="-253465" algn="l" defTabSz="921121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5110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0211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5335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80419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25527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70647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15755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0850" algn="l" defTabSz="8902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4962815"/>
              </p:ext>
            </p:extLst>
          </p:nvPr>
        </p:nvGraphicFramePr>
        <p:xfrm>
          <a:off x="1910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4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10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74" name="Picture 29" descr="CIB BB alternative PPT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20" y="6271385"/>
            <a:ext cx="9142449" cy="38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08654" y="205619"/>
            <a:ext cx="7135948" cy="28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95" y="1096182"/>
            <a:ext cx="8117490" cy="502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Bulleted text</a:t>
            </a:r>
          </a:p>
          <a:p>
            <a:pPr lvl="2"/>
            <a:r>
              <a:rPr lang="en-US" smtClean="0"/>
              <a:t>Bulleted text</a:t>
            </a:r>
          </a:p>
          <a:p>
            <a:pPr lvl="3"/>
            <a:r>
              <a:rPr lang="en-US" smtClean="0"/>
              <a:t>Bulleted text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51380" y="6330506"/>
            <a:ext cx="1434322" cy="18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 defTabSz="890819"/>
            <a:fld id="{9596F24E-A1B9-42BE-9EEB-B47D5ED1C713}" type="datetime1">
              <a:rPr lang="en-US" smtClean="0">
                <a:solidFill>
                  <a:srgbClr val="000000"/>
                </a:solidFill>
                <a:latin typeface="Arial"/>
              </a:rPr>
              <a:pPr defTabSz="890819"/>
              <a:t>12/2/2014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62" y="520095"/>
            <a:ext cx="7687968" cy="151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pPr defTabSz="890819"/>
            <a:endParaRPr lang="en-US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30225" y="6309185"/>
            <a:ext cx="182973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 defTabSz="890819"/>
            <a:fld id="{EC0BFEAE-07F2-4A73-BC8F-89B961EA449A}" type="slidenum">
              <a:rPr lang="en-US" smtClean="0">
                <a:solidFill>
                  <a:srgbClr val="000000"/>
                </a:solidFill>
                <a:latin typeface="Arial"/>
              </a:rPr>
              <a:pPr defTabSz="890819"/>
              <a:t>‹#›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67" name="Freeform 27"/>
          <p:cNvSpPr>
            <a:spLocks/>
          </p:cNvSpPr>
          <p:nvPr/>
        </p:nvSpPr>
        <p:spPr bwMode="auto">
          <a:xfrm>
            <a:off x="312404" y="524108"/>
            <a:ext cx="8829224" cy="238881"/>
          </a:xfrm>
          <a:custGeom>
            <a:avLst/>
            <a:gdLst/>
            <a:ahLst/>
            <a:cxnLst>
              <a:cxn ang="0">
                <a:pos x="0" y="158"/>
              </a:cxn>
              <a:cxn ang="0">
                <a:pos x="160" y="0"/>
              </a:cxn>
              <a:cxn ang="0">
                <a:pos x="5552" y="0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</p:spPr>
        <p:txBody>
          <a:bodyPr lIns="88702" tIns="44343" rIns="88702" bIns="44343"/>
          <a:lstStyle/>
          <a:p>
            <a:pPr algn="l" defTabSz="890819">
              <a:defRPr/>
            </a:pPr>
            <a:endParaRPr lang="en-US" sz="19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919978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43484"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886950"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30455"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773905" algn="l" defTabSz="917756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algn="l" defTabSz="917756" rtl="0" eaLnBrk="1" fontAlgn="base" hangingPunct="1">
        <a:spcBef>
          <a:spcPct val="30000"/>
        </a:spcBef>
        <a:spcAft>
          <a:spcPct val="10000"/>
        </a:spcAft>
        <a:defRPr sz="1100">
          <a:solidFill>
            <a:srgbClr val="000000"/>
          </a:solidFill>
          <a:latin typeface="+mn-lt"/>
          <a:ea typeface="+mn-ea"/>
          <a:cs typeface="+mn-cs"/>
        </a:defRPr>
      </a:lvl1pPr>
      <a:lvl2pPr marL="175559" indent="-174020" algn="l" defTabSz="917756" rtl="0" eaLnBrk="1" fontAlgn="base" hangingPunct="1">
        <a:spcBef>
          <a:spcPct val="30000"/>
        </a:spcBef>
        <a:spcAft>
          <a:spcPct val="10000"/>
        </a:spcAft>
        <a:buClr>
          <a:srgbClr val="00915A"/>
        </a:buClr>
        <a:buSzPct val="80000"/>
        <a:buFont typeface="Wingdings" pitchFamily="2" charset="2"/>
        <a:buChar char="n"/>
        <a:defRPr sz="1100">
          <a:solidFill>
            <a:srgbClr val="000000"/>
          </a:solidFill>
          <a:latin typeface="+mn-lt"/>
          <a:cs typeface="+mn-cs"/>
        </a:defRPr>
      </a:lvl2pPr>
      <a:lvl3pPr marL="346490" indent="-169402" algn="l" defTabSz="917756" rtl="0" eaLnBrk="1" fontAlgn="base" hangingPunct="1">
        <a:spcBef>
          <a:spcPct val="10000"/>
        </a:spcBef>
        <a:spcAft>
          <a:spcPct val="10000"/>
        </a:spcAft>
        <a:buClr>
          <a:srgbClr val="00915A"/>
        </a:buClr>
        <a:buSzPct val="120000"/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3pPr>
      <a:lvl4pPr marL="526638" indent="-178623" algn="l" defTabSz="917756" rtl="0" eaLnBrk="1" fontAlgn="base" hangingPunct="1">
        <a:spcBef>
          <a:spcPct val="10000"/>
        </a:spcBef>
        <a:spcAft>
          <a:spcPct val="0"/>
        </a:spcAft>
        <a:buClr>
          <a:srgbClr val="00915A"/>
        </a:buClr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4pPr>
      <a:lvl5pPr marL="1044027" indent="-252546" algn="l" defTabSz="917756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5pPr>
      <a:lvl6pPr marL="1487517" indent="-252546" algn="l" defTabSz="917756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6pPr>
      <a:lvl7pPr marL="1930947" indent="-252546" algn="l" defTabSz="917756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7pPr>
      <a:lvl8pPr marL="2374459" indent="-252546" algn="l" defTabSz="917756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8pPr>
      <a:lvl9pPr marL="2817945" indent="-252546" algn="l" defTabSz="917756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3484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86950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30455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73905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17393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60880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04358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47821" algn="l" defTabSz="88695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9" descr="CIB BB alternative PPT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271385"/>
            <a:ext cx="9142449" cy="3885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08642" y="205619"/>
            <a:ext cx="7135948" cy="28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8676" y="1096182"/>
            <a:ext cx="8117490" cy="50285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Bulleted text</a:t>
            </a:r>
          </a:p>
          <a:p>
            <a:pPr lvl="2"/>
            <a:r>
              <a:rPr lang="en-US" smtClean="0"/>
              <a:t>Bulleted text</a:t>
            </a:r>
          </a:p>
          <a:p>
            <a:pPr lvl="3"/>
            <a:r>
              <a:rPr lang="en-US" smtClean="0"/>
              <a:t>Bulleted text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7050743" y="6330351"/>
            <a:ext cx="1434322" cy="1814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16B19B19-1333-4AB9-BF42-C7FC0544883A}" type="datetime1">
              <a:rPr lang="en-US" smtClean="0">
                <a:solidFill>
                  <a:srgbClr val="000000"/>
                </a:solidFill>
                <a:latin typeface="Arial"/>
              </a:rPr>
              <a:pPr/>
              <a:t>12/2/2014</a:t>
            </a:fld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135062" y="520095"/>
            <a:ext cx="7687968" cy="151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1000" b="1">
                <a:solidFill>
                  <a:srgbClr val="78848A"/>
                </a:solidFill>
                <a:latin typeface="Arial Narrow" pitchFamily="34" charset="0"/>
              </a:defRPr>
            </a:lvl1pPr>
          </a:lstStyle>
          <a:p>
            <a:endParaRPr lang="en-US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29277" y="6309185"/>
            <a:ext cx="182973" cy="222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EC0BFEAE-07F2-4A73-BC8F-89B961EA449A}" type="slidenum">
              <a:rPr lang="en-US">
                <a:solidFill>
                  <a:srgbClr val="000000"/>
                </a:solidFill>
                <a:latin typeface="Arial"/>
              </a:rPr>
              <a:pPr/>
              <a:t>‹#›</a:t>
            </a:fld>
            <a:endParaRPr lang="en-US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267" name="Freeform 27"/>
          <p:cNvSpPr>
            <a:spLocks/>
          </p:cNvSpPr>
          <p:nvPr/>
        </p:nvSpPr>
        <p:spPr bwMode="auto">
          <a:xfrm>
            <a:off x="311758" y="523205"/>
            <a:ext cx="8829224" cy="238881"/>
          </a:xfrm>
          <a:custGeom>
            <a:avLst/>
            <a:gdLst/>
            <a:ahLst/>
            <a:cxnLst>
              <a:cxn ang="0">
                <a:pos x="0" y="158"/>
              </a:cxn>
              <a:cxn ang="0">
                <a:pos x="160" y="0"/>
              </a:cxn>
              <a:cxn ang="0">
                <a:pos x="5552" y="0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</p:spPr>
        <p:txBody>
          <a:bodyPr lIns="91045" tIns="45522" rIns="91045" bIns="45522"/>
          <a:lstStyle/>
          <a:p>
            <a:pPr algn="l">
              <a:defRPr/>
            </a:pPr>
            <a:endParaRPr lang="en-US" sz="19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80611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2pPr>
      <a:lvl3pPr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3pPr>
      <a:lvl4pPr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4pPr>
      <a:lvl5pPr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5pPr>
      <a:lvl6pPr marL="455215"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6pPr>
      <a:lvl7pPr marL="910428"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7pPr>
      <a:lvl8pPr marL="1365653"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8pPr>
      <a:lvl9pPr marL="1820871" algn="l" defTabSz="942050" rtl="0" eaLnBrk="1" fontAlgn="base" hangingPunct="1"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pitchFamily="34" charset="0"/>
          <a:cs typeface="Arial" pitchFamily="34" charset="0"/>
        </a:defRPr>
      </a:lvl9pPr>
    </p:titleStyle>
    <p:bodyStyle>
      <a:lvl1pPr algn="l" defTabSz="942050" rtl="0" eaLnBrk="1" fontAlgn="base" hangingPunct="1">
        <a:spcBef>
          <a:spcPct val="30000"/>
        </a:spcBef>
        <a:spcAft>
          <a:spcPct val="10000"/>
        </a:spcAft>
        <a:defRPr sz="1100">
          <a:solidFill>
            <a:srgbClr val="000000"/>
          </a:solidFill>
          <a:latin typeface="+mn-lt"/>
          <a:ea typeface="+mn-ea"/>
          <a:cs typeface="+mn-cs"/>
        </a:defRPr>
      </a:lvl1pPr>
      <a:lvl2pPr marL="180193" indent="-178613" algn="l" defTabSz="942050" rtl="0" eaLnBrk="1" fontAlgn="base" hangingPunct="1">
        <a:spcBef>
          <a:spcPct val="30000"/>
        </a:spcBef>
        <a:spcAft>
          <a:spcPct val="10000"/>
        </a:spcAft>
        <a:buClr>
          <a:srgbClr val="00915A"/>
        </a:buClr>
        <a:buSzPct val="80000"/>
        <a:buFont typeface="Wingdings" pitchFamily="2" charset="2"/>
        <a:buChar char="n"/>
        <a:defRPr sz="1100">
          <a:solidFill>
            <a:srgbClr val="000000"/>
          </a:solidFill>
          <a:latin typeface="+mn-lt"/>
          <a:cs typeface="+mn-cs"/>
        </a:defRPr>
      </a:lvl2pPr>
      <a:lvl3pPr marL="355640" indent="-173866" algn="l" defTabSz="942050" rtl="0" eaLnBrk="1" fontAlgn="base" hangingPunct="1">
        <a:spcBef>
          <a:spcPct val="10000"/>
        </a:spcBef>
        <a:spcAft>
          <a:spcPct val="10000"/>
        </a:spcAft>
        <a:buClr>
          <a:srgbClr val="00915A"/>
        </a:buClr>
        <a:buSzPct val="120000"/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3pPr>
      <a:lvl4pPr marL="540575" indent="-183352" algn="l" defTabSz="942050" rtl="0" eaLnBrk="1" fontAlgn="base" hangingPunct="1">
        <a:spcBef>
          <a:spcPct val="10000"/>
        </a:spcBef>
        <a:spcAft>
          <a:spcPct val="0"/>
        </a:spcAft>
        <a:buClr>
          <a:srgbClr val="00915A"/>
        </a:buClr>
        <a:buFont typeface="Wingdings" pitchFamily="2" charset="2"/>
        <a:buChar char="§"/>
        <a:defRPr sz="1100">
          <a:solidFill>
            <a:srgbClr val="000000"/>
          </a:solidFill>
          <a:latin typeface="+mn-lt"/>
          <a:cs typeface="+mn-cs"/>
        </a:defRPr>
      </a:lvl4pPr>
      <a:lvl5pPr marL="1071658" indent="-259228" algn="l" defTabSz="942050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5pPr>
      <a:lvl6pPr marL="1526875" indent="-259228" algn="l" defTabSz="942050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6pPr>
      <a:lvl7pPr marL="1982093" indent="-259228" algn="l" defTabSz="942050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7pPr>
      <a:lvl8pPr marL="2437312" indent="-259228" algn="l" defTabSz="942050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8pPr>
      <a:lvl9pPr marL="2892532" indent="-259228" algn="l" defTabSz="942050" rtl="0" eaLnBrk="1" fontAlgn="base" hangingPunct="1">
        <a:spcBef>
          <a:spcPct val="20000"/>
        </a:spcBef>
        <a:spcAft>
          <a:spcPct val="0"/>
        </a:spcAft>
        <a:buClr>
          <a:srgbClr val="00915A"/>
        </a:buClr>
        <a:buSzPct val="80000"/>
        <a:buFont typeface="Wingdings" pitchFamily="2" charset="2"/>
        <a:buChar char="§"/>
        <a:defRPr sz="16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215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0428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5653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0871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6090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1304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86524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1745" algn="l" defTabSz="91042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9" descr="CIB BB alternative PPT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" y="6451600"/>
            <a:ext cx="9142535" cy="388938"/>
          </a:xfrm>
          <a:prstGeom prst="rect">
            <a:avLst/>
          </a:prstGeom>
          <a:noFill/>
        </p:spPr>
      </p:pic>
      <p:sp>
        <p:nvSpPr>
          <p:cNvPr id="67" name="Title Placeholder 66"/>
          <p:cNvSpPr>
            <a:spLocks noGrp="1"/>
          </p:cNvSpPr>
          <p:nvPr>
            <p:ph type="title"/>
          </p:nvPr>
        </p:nvSpPr>
        <p:spPr>
          <a:xfrm>
            <a:off x="596411" y="129600"/>
            <a:ext cx="8380800" cy="461962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8" name="Text Placeholder 67"/>
          <p:cNvSpPr>
            <a:spLocks noGrp="1"/>
          </p:cNvSpPr>
          <p:nvPr>
            <p:ph type="body" idx="1"/>
          </p:nvPr>
        </p:nvSpPr>
        <p:spPr>
          <a:xfrm>
            <a:off x="1594338" y="1188000"/>
            <a:ext cx="7092462" cy="511189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312128" y="523876"/>
            <a:ext cx="8828942" cy="238125"/>
          </a:xfrm>
          <a:custGeom>
            <a:avLst/>
            <a:gdLst/>
            <a:ahLst/>
            <a:cxnLst>
              <a:cxn ang="0">
                <a:pos x="0" y="158"/>
              </a:cxn>
              <a:cxn ang="0">
                <a:pos x="160" y="0"/>
              </a:cxn>
              <a:cxn ang="0">
                <a:pos x="5552" y="0"/>
              </a:cxn>
            </a:cxnLst>
            <a:rect l="0" t="0" r="r" b="b"/>
            <a:pathLst>
              <a:path w="5552" h="158">
                <a:moveTo>
                  <a:pt x="0" y="158"/>
                </a:moveTo>
                <a:lnTo>
                  <a:pt x="160" y="0"/>
                </a:lnTo>
                <a:lnTo>
                  <a:pt x="5552" y="0"/>
                </a:lnTo>
              </a:path>
            </a:pathLst>
          </a:custGeom>
          <a:noFill/>
          <a:ln w="25400" cap="flat">
            <a:solidFill>
              <a:srgbClr val="78848A"/>
            </a:solidFill>
            <a:prstDash val="solid"/>
            <a:round/>
            <a:headEnd/>
            <a:tailEnd/>
          </a:ln>
        </p:spPr>
        <p:txBody>
          <a:bodyPr/>
          <a:lstStyle/>
          <a:p>
            <a:pPr algn="ctr"/>
            <a:endParaRPr lang="fr-FR" sz="1100">
              <a:solidFill>
                <a:srgbClr val="335687"/>
              </a:solidFill>
              <a:ea typeface="楷体" panose="02010609060101010101" pitchFamily="49" charset="-122"/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3"/>
          </p:nvPr>
        </p:nvSpPr>
        <p:spPr>
          <a:xfrm>
            <a:off x="5052646" y="6509279"/>
            <a:ext cx="3426173" cy="163512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800" baseline="0">
                <a:solidFill>
                  <a:srgbClr val="000000"/>
                </a:solidFill>
                <a:ea typeface="楷体" panose="02010609060101010101" pitchFamily="49" charset="-122"/>
              </a:defRPr>
            </a:lvl1pPr>
          </a:lstStyle>
          <a:p>
            <a:r>
              <a:rPr lang="en-US" smtClean="0"/>
              <a:t>Finance Spain setup - July 2014</a:t>
            </a:r>
            <a:endParaRPr lang="fr-FR" dirty="0"/>
          </a:p>
        </p:txBody>
      </p:sp>
      <p:sp>
        <p:nvSpPr>
          <p:cNvPr id="10" name="Line 4"/>
          <p:cNvSpPr>
            <a:spLocks noChangeShapeType="1"/>
          </p:cNvSpPr>
          <p:nvPr/>
        </p:nvSpPr>
        <p:spPr bwMode="auto">
          <a:xfrm>
            <a:off x="8535866" y="6547490"/>
            <a:ext cx="0" cy="10953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/>
          </a:ln>
          <a:effectLst/>
        </p:spPr>
        <p:txBody>
          <a:bodyPr/>
          <a:lstStyle/>
          <a:p>
            <a:pPr algn="l"/>
            <a:endParaRPr lang="fr-FR" sz="1900">
              <a:solidFill>
                <a:srgbClr val="000000"/>
              </a:solidFill>
              <a:ea typeface="楷体" panose="02010609060101010101" pitchFamily="49" charset="-122"/>
            </a:endParaRPr>
          </a:p>
        </p:txBody>
      </p:sp>
      <p:sp>
        <p:nvSpPr>
          <p:cNvPr id="9" name="Espace réservé du numéro de diapositive 1"/>
          <p:cNvSpPr>
            <a:spLocks noGrp="1"/>
          </p:cNvSpPr>
          <p:nvPr>
            <p:ph type="sldNum" sz="quarter" idx="4"/>
          </p:nvPr>
        </p:nvSpPr>
        <p:spPr>
          <a:xfrm>
            <a:off x="8521011" y="6508263"/>
            <a:ext cx="430823" cy="1635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baseline="0">
                <a:solidFill>
                  <a:srgbClr val="000000"/>
                </a:solidFill>
                <a:ea typeface="楷体" panose="02010609060101010101" pitchFamily="49" charset="-122"/>
              </a:defRPr>
            </a:lvl1pPr>
          </a:lstStyle>
          <a:p>
            <a:fld id="{E0FF3759-E64C-477A-9A66-8A22F94A4101}" type="slidenum">
              <a:rPr lang="fr-FR" smtClean="0"/>
              <a:pPr/>
              <a:t>‹#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5086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fontAlgn="base">
        <a:spcBef>
          <a:spcPct val="0"/>
        </a:spcBef>
        <a:spcAft>
          <a:spcPct val="0"/>
        </a:spcAft>
        <a:defRPr b="1" baseline="0">
          <a:solidFill>
            <a:srgbClr val="000000"/>
          </a:solidFill>
          <a:latin typeface="+mj-lt"/>
          <a:ea typeface="楷体" panose="02010609060101010101" pitchFamily="49" charset="-122"/>
          <a:cs typeface="+mj-cs"/>
        </a:defRPr>
      </a:lvl1pPr>
      <a:lvl2pPr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2pPr>
      <a:lvl3pPr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3pPr>
      <a:lvl4pPr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4pPr>
      <a:lvl5pPr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5pPr>
      <a:lvl6pPr marL="457200"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6pPr>
      <a:lvl7pPr marL="914400"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7pPr>
      <a:lvl8pPr marL="1371600"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8pPr>
      <a:lvl9pPr marL="1828800" algn="l" defTabSz="957263" rtl="0" fontAlgn="base">
        <a:spcBef>
          <a:spcPct val="0"/>
        </a:spcBef>
        <a:spcAft>
          <a:spcPct val="0"/>
        </a:spcAft>
        <a:defRPr b="1">
          <a:solidFill>
            <a:srgbClr val="007CB1"/>
          </a:solidFill>
          <a:latin typeface="Arial" charset="0"/>
          <a:cs typeface="Arial" charset="0"/>
        </a:defRPr>
      </a:lvl9pPr>
    </p:titleStyle>
    <p:bodyStyle>
      <a:lvl1pPr marL="177800" indent="-177800" algn="l" defTabSz="539750" rtl="0" fontAlgn="base">
        <a:lnSpc>
          <a:spcPct val="95000"/>
        </a:lnSpc>
        <a:spcBef>
          <a:spcPct val="0"/>
        </a:spcBef>
        <a:spcAft>
          <a:spcPts val="300"/>
        </a:spcAft>
        <a:buClr>
          <a:srgbClr val="00AB8E"/>
        </a:buClr>
        <a:buSzPct val="80000"/>
        <a:buFont typeface="Wingdings" pitchFamily="2" charset="2"/>
        <a:buChar char="n"/>
        <a:defRPr sz="1100" baseline="0">
          <a:solidFill>
            <a:srgbClr val="000000"/>
          </a:solidFill>
          <a:latin typeface="+mn-lt"/>
          <a:ea typeface="楷体" panose="02010609060101010101" pitchFamily="49" charset="-122"/>
          <a:cs typeface="+mn-cs"/>
        </a:defRPr>
      </a:lvl1pPr>
      <a:lvl2pPr marL="355600" indent="-163513" algn="l" defTabSz="539750" rtl="0" fontAlgn="base">
        <a:lnSpc>
          <a:spcPct val="95000"/>
        </a:lnSpc>
        <a:spcBef>
          <a:spcPct val="0"/>
        </a:spcBef>
        <a:spcAft>
          <a:spcPts val="300"/>
        </a:spcAft>
        <a:buClr>
          <a:srgbClr val="00AB8E"/>
        </a:buClr>
        <a:buSzPct val="65000"/>
        <a:buFont typeface="Wingdings" pitchFamily="2" charset="2"/>
        <a:buChar char="n"/>
        <a:defRPr sz="1100" baseline="0">
          <a:solidFill>
            <a:srgbClr val="000000"/>
          </a:solidFill>
          <a:latin typeface="+mn-lt"/>
          <a:ea typeface="楷体" panose="02010609060101010101" pitchFamily="49" charset="-122"/>
          <a:cs typeface="+mn-cs"/>
        </a:defRPr>
      </a:lvl2pPr>
      <a:lvl3pPr marL="541338" indent="-185738" algn="l" defTabSz="539750" rtl="0" fontAlgn="base">
        <a:lnSpc>
          <a:spcPct val="95000"/>
        </a:lnSpc>
        <a:spcBef>
          <a:spcPct val="0"/>
        </a:spcBef>
        <a:spcAft>
          <a:spcPts val="300"/>
        </a:spcAft>
        <a:buClr>
          <a:srgbClr val="00AB8E"/>
        </a:buClr>
        <a:buSzPct val="55000"/>
        <a:buFont typeface="Wingdings" pitchFamily="2" charset="2"/>
        <a:buChar char="n"/>
        <a:defRPr sz="1000" baseline="0">
          <a:solidFill>
            <a:srgbClr val="000000"/>
          </a:solidFill>
          <a:latin typeface="+mn-lt"/>
          <a:ea typeface="楷体" panose="02010609060101010101" pitchFamily="49" charset="-122"/>
          <a:cs typeface="+mn-cs"/>
        </a:defRPr>
      </a:lvl3pPr>
      <a:lvl4pPr marL="719138" indent="-177800" algn="l" defTabSz="539750" rtl="0" fontAlgn="base">
        <a:lnSpc>
          <a:spcPct val="95000"/>
        </a:lnSpc>
        <a:spcBef>
          <a:spcPct val="0"/>
        </a:spcBef>
        <a:spcAft>
          <a:spcPts val="300"/>
        </a:spcAft>
        <a:buClr>
          <a:srgbClr val="7F7F7F"/>
        </a:buClr>
        <a:buSzPct val="80000"/>
        <a:buChar char="•"/>
        <a:defRPr sz="900" baseline="0">
          <a:solidFill>
            <a:srgbClr val="000000"/>
          </a:solidFill>
          <a:latin typeface="+mn-lt"/>
          <a:ea typeface="楷体" panose="02010609060101010101" pitchFamily="49" charset="-122"/>
          <a:cs typeface="+mn-cs"/>
        </a:defRPr>
      </a:lvl4pPr>
      <a:lvl5pPr marL="896938" indent="-177800" algn="just" defTabSz="539750" rtl="0" fontAlgn="base">
        <a:spcBef>
          <a:spcPct val="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800" baseline="0">
          <a:solidFill>
            <a:srgbClr val="000000"/>
          </a:solidFill>
          <a:latin typeface="+mn-lt"/>
          <a:ea typeface="楷体" panose="02010609060101010101" pitchFamily="49" charset="-122"/>
          <a:cs typeface="+mn-cs"/>
        </a:defRPr>
      </a:lvl5pPr>
      <a:lvl6pPr marL="1335088" indent="-141288" algn="just" defTabSz="539750" rtl="0" fontAlgn="base">
        <a:spcBef>
          <a:spcPct val="0"/>
        </a:spcBef>
        <a:spcAft>
          <a:spcPct val="0"/>
        </a:spcAft>
        <a:buClr>
          <a:schemeClr val="bg2"/>
        </a:buClr>
        <a:buChar char="-"/>
        <a:defRPr sz="800">
          <a:solidFill>
            <a:srgbClr val="000000"/>
          </a:solidFill>
          <a:latin typeface="+mn-lt"/>
          <a:cs typeface="+mn-cs"/>
        </a:defRPr>
      </a:lvl6pPr>
      <a:lvl7pPr marL="1792288" indent="-141288" algn="just" defTabSz="539750" rtl="0" fontAlgn="base">
        <a:spcBef>
          <a:spcPct val="0"/>
        </a:spcBef>
        <a:spcAft>
          <a:spcPct val="0"/>
        </a:spcAft>
        <a:buClr>
          <a:schemeClr val="bg2"/>
        </a:buClr>
        <a:buChar char="-"/>
        <a:defRPr sz="800">
          <a:solidFill>
            <a:srgbClr val="000000"/>
          </a:solidFill>
          <a:latin typeface="+mn-lt"/>
          <a:cs typeface="+mn-cs"/>
        </a:defRPr>
      </a:lvl7pPr>
      <a:lvl8pPr marL="2249488" indent="-141288" algn="just" defTabSz="539750" rtl="0" fontAlgn="base">
        <a:spcBef>
          <a:spcPct val="0"/>
        </a:spcBef>
        <a:spcAft>
          <a:spcPct val="0"/>
        </a:spcAft>
        <a:buClr>
          <a:schemeClr val="bg2"/>
        </a:buClr>
        <a:buChar char="-"/>
        <a:defRPr sz="800">
          <a:solidFill>
            <a:srgbClr val="000000"/>
          </a:solidFill>
          <a:latin typeface="+mn-lt"/>
          <a:cs typeface="+mn-cs"/>
        </a:defRPr>
      </a:lvl8pPr>
      <a:lvl9pPr marL="2706688" indent="-141288" algn="just" defTabSz="539750" rtl="0" fontAlgn="base">
        <a:spcBef>
          <a:spcPct val="0"/>
        </a:spcBef>
        <a:spcAft>
          <a:spcPct val="0"/>
        </a:spcAft>
        <a:buClr>
          <a:schemeClr val="bg2"/>
        </a:buClr>
        <a:buChar char="-"/>
        <a:defRPr sz="800">
          <a:solidFill>
            <a:srgbClr val="000000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siness environment in Central Europe (1/2)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altLang="en-US" smtClean="0"/>
              <a:t>24/11/2014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2B73B58-D3E6-492B-B485-EE7BBBBB0C7B}" type="slidenum">
              <a:rPr lang="en-GB" altLang="en-US" smtClean="0"/>
              <a:pPr>
                <a:defRPr/>
              </a:pPr>
              <a:t>1</a:t>
            </a:fld>
            <a:endParaRPr lang="en-GB" altLang="en-US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936" y="1040493"/>
            <a:ext cx="7937376" cy="5134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2" name="TextBox 6"/>
          <p:cNvSpPr txBox="1">
            <a:spLocks noChangeArrowheads="1"/>
          </p:cNvSpPr>
          <p:nvPr/>
        </p:nvSpPr>
        <p:spPr bwMode="auto">
          <a:xfrm>
            <a:off x="783112" y="6561675"/>
            <a:ext cx="8207425" cy="503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274" tIns="43634" rIns="87274" bIns="43634">
            <a:spAutoFit/>
          </a:bodyPr>
          <a:lstStyle>
            <a:lvl1pPr eaLnBrk="0" hangingPunct="0">
              <a:spcBef>
                <a:spcPct val="30000"/>
              </a:spcBef>
              <a:spcAft>
                <a:spcPct val="10000"/>
              </a:spcAft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spcAft>
                <a:spcPct val="10000"/>
              </a:spcAft>
              <a:buClr>
                <a:srgbClr val="00AB8E"/>
              </a:buClr>
              <a:buSzPct val="80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10000"/>
              </a:spcBef>
              <a:spcAft>
                <a:spcPct val="10000"/>
              </a:spcAft>
              <a:buClr>
                <a:srgbClr val="00AB8E"/>
              </a:buClr>
              <a:buSzPct val="12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10000"/>
              </a:spcBef>
              <a:buClr>
                <a:srgbClr val="00AB8E"/>
              </a:buClr>
              <a:buSzPct val="10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900" i="1" dirty="0">
                <a:latin typeface="BNPP Sans" pitchFamily="50" charset="-18"/>
              </a:rPr>
              <a:t>Source: The Global Competitiveness Report 2014-2015 (World Economic Forum); A new dawn: Reigniting growth in Central and Eastern Europe (McKinsey Global Institute, December 2013)</a:t>
            </a:r>
          </a:p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endParaRPr lang="en-GB" altLang="en-US" sz="900" i="1" dirty="0">
              <a:latin typeface="BNPP Sans" pitchFamily="50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2779976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siness environment in Central Europe (2/2)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fr-FR" altLang="en-US" smtClean="0"/>
              <a:t>24/11/2014</a:t>
            </a:r>
            <a:endParaRPr lang="en-GB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2B73B58-D3E6-492B-B485-EE7BBBBB0C7B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186" y="1049572"/>
            <a:ext cx="8173177" cy="51765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783112" y="6561675"/>
            <a:ext cx="8207425" cy="5036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274" tIns="43634" rIns="87274" bIns="43634">
            <a:spAutoFit/>
          </a:bodyPr>
          <a:lstStyle>
            <a:lvl1pPr eaLnBrk="0" hangingPunct="0">
              <a:spcBef>
                <a:spcPct val="30000"/>
              </a:spcBef>
              <a:spcAft>
                <a:spcPct val="10000"/>
              </a:spcAft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spcBef>
                <a:spcPct val="30000"/>
              </a:spcBef>
              <a:spcAft>
                <a:spcPct val="10000"/>
              </a:spcAft>
              <a:buClr>
                <a:srgbClr val="00AB8E"/>
              </a:buClr>
              <a:buSzPct val="80000"/>
              <a:buFont typeface="Wingdings" pitchFamily="2" charset="2"/>
              <a:buChar char="n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spcBef>
                <a:spcPct val="10000"/>
              </a:spcBef>
              <a:spcAft>
                <a:spcPct val="10000"/>
              </a:spcAft>
              <a:buClr>
                <a:srgbClr val="00AB8E"/>
              </a:buClr>
              <a:buSzPct val="12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spcBef>
                <a:spcPct val="10000"/>
              </a:spcBef>
              <a:buClr>
                <a:srgbClr val="00AB8E"/>
              </a:buClr>
              <a:buSzPct val="10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15A"/>
              </a:buClr>
              <a:buSzPct val="80000"/>
              <a:buFont typeface="Wingdings" pitchFamily="2" charset="2"/>
              <a:buChar char="§"/>
              <a:defRPr sz="16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r>
              <a:rPr lang="en-GB" altLang="en-US" sz="900" i="1" dirty="0">
                <a:latin typeface="BNPP Sans" pitchFamily="50" charset="-18"/>
              </a:rPr>
              <a:t>Source: The Global Competitiveness Report 2014-2015 (World Economic Forum); A new dawn: Reigniting growth in Central and Eastern Europe (McKinsey Global Institute, December 2013)</a:t>
            </a:r>
          </a:p>
          <a:p>
            <a:pPr algn="l" eaLnBrk="1" hangingPunct="1">
              <a:spcBef>
                <a:spcPct val="0"/>
              </a:spcBef>
              <a:spcAft>
                <a:spcPct val="0"/>
              </a:spcAft>
            </a:pPr>
            <a:endParaRPr lang="en-GB" altLang="en-US" sz="900" i="1" dirty="0">
              <a:latin typeface="BNPP Sans" pitchFamily="50" charset="-18"/>
            </a:endParaRPr>
          </a:p>
        </p:txBody>
      </p:sp>
    </p:spTree>
    <p:extLst>
      <p:ext uri="{BB962C8B-B14F-4D97-AF65-F5344CB8AC3E}">
        <p14:creationId xmlns:p14="http://schemas.microsoft.com/office/powerpoint/2010/main" val="178203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dèle par défaut">
  <a:themeElements>
    <a:clrScheme name="Modèle par défaut 13">
      <a:dk1>
        <a:srgbClr val="58585A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4A4A4C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altLang="en-US" sz="1800" b="0" i="0" u="none" strike="noStrike" cap="none" normalizeH="0" baseline="0" noProof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altLang="en-US" sz="1800" b="0" i="0" u="none" strike="noStrike" cap="none" normalizeH="0" baseline="0" noProof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58585A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4A4A4C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58585A"/>
        </a:dk1>
        <a:lt1>
          <a:srgbClr val="FFFFFF"/>
        </a:lt1>
        <a:dk2>
          <a:srgbClr val="000000"/>
        </a:dk2>
        <a:lt2>
          <a:srgbClr val="808080"/>
        </a:lt2>
        <a:accent1>
          <a:srgbClr val="4BC8DC"/>
        </a:accent1>
        <a:accent2>
          <a:srgbClr val="505A9B"/>
        </a:accent2>
        <a:accent3>
          <a:srgbClr val="FFFFFF"/>
        </a:accent3>
        <a:accent4>
          <a:srgbClr val="4A4A4C"/>
        </a:accent4>
        <a:accent5>
          <a:srgbClr val="B1E0EB"/>
        </a:accent5>
        <a:accent6>
          <a:srgbClr val="48518C"/>
        </a:accent6>
        <a:hlink>
          <a:srgbClr val="00915A"/>
        </a:hlink>
        <a:folHlink>
          <a:srgbClr val="A0C87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Modèle par défaut">
  <a:themeElements>
    <a:clrScheme name="Modèle par défaut 13">
      <a:dk1>
        <a:srgbClr val="58585A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4A4A4C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altLang="en-US" sz="1800" b="0" i="0" u="none" strike="noStrike" cap="none" normalizeH="0" baseline="0" noProof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altLang="en-US" sz="1800" b="0" i="0" u="none" strike="noStrike" cap="none" normalizeH="0" baseline="0" noProof="1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58585A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4A4A4C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58585A"/>
        </a:dk1>
        <a:lt1>
          <a:srgbClr val="FFFFFF"/>
        </a:lt1>
        <a:dk2>
          <a:srgbClr val="000000"/>
        </a:dk2>
        <a:lt2>
          <a:srgbClr val="808080"/>
        </a:lt2>
        <a:accent1>
          <a:srgbClr val="4BC8DC"/>
        </a:accent1>
        <a:accent2>
          <a:srgbClr val="505A9B"/>
        </a:accent2>
        <a:accent3>
          <a:srgbClr val="FFFFFF"/>
        </a:accent3>
        <a:accent4>
          <a:srgbClr val="4A4A4C"/>
        </a:accent4>
        <a:accent5>
          <a:srgbClr val="B1E0EB"/>
        </a:accent5>
        <a:accent6>
          <a:srgbClr val="48518C"/>
        </a:accent6>
        <a:hlink>
          <a:srgbClr val="00915A"/>
        </a:hlink>
        <a:folHlink>
          <a:srgbClr val="A0C87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CIB Print 2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1_CIB Print 2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1_CIB Print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IB Print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IB Print 2 13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6_CIB Print 1">
  <a:themeElements>
    <a:clrScheme name="Official Template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Print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CIB Prin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3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CIB Print 1">
  <a:themeElements>
    <a:clrScheme name="Official Template">
      <a:dk1>
        <a:srgbClr val="000000"/>
      </a:dk1>
      <a:lt1>
        <a:srgbClr val="FFFFFF"/>
      </a:lt1>
      <a:dk2>
        <a:srgbClr val="000000"/>
      </a:dk2>
      <a:lt2>
        <a:srgbClr val="9B5D49"/>
      </a:lt2>
      <a:accent1>
        <a:srgbClr val="007CB1"/>
      </a:accent1>
      <a:accent2>
        <a:srgbClr val="70C27A"/>
      </a:accent2>
      <a:accent3>
        <a:srgbClr val="FFFFFF"/>
      </a:accent3>
      <a:accent4>
        <a:srgbClr val="000000"/>
      </a:accent4>
      <a:accent5>
        <a:srgbClr val="AABFD5"/>
      </a:accent5>
      <a:accent6>
        <a:srgbClr val="65B06E"/>
      </a:accent6>
      <a:hlink>
        <a:srgbClr val="EE2D26"/>
      </a:hlink>
      <a:folHlink>
        <a:srgbClr val="F08B21"/>
      </a:folHlink>
    </a:clrScheme>
    <a:fontScheme name="CIB Print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461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9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cs typeface="Arial" pitchFamily="34" charset="0"/>
          </a:defRPr>
        </a:defPPr>
      </a:lstStyle>
    </a:lnDef>
  </a:objectDefaults>
  <a:extraClrSchemeLst>
    <a:extraClrScheme>
      <a:clrScheme name="CIB Print 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IB Print 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IB Print 1 13">
        <a:dk1>
          <a:srgbClr val="000000"/>
        </a:dk1>
        <a:lt1>
          <a:srgbClr val="FFFFFF"/>
        </a:lt1>
        <a:dk2>
          <a:srgbClr val="000000"/>
        </a:dk2>
        <a:lt2>
          <a:srgbClr val="9B5D49"/>
        </a:lt2>
        <a:accent1>
          <a:srgbClr val="007CB1"/>
        </a:accent1>
        <a:accent2>
          <a:srgbClr val="70C27A"/>
        </a:accent2>
        <a:accent3>
          <a:srgbClr val="FFFFFF"/>
        </a:accent3>
        <a:accent4>
          <a:srgbClr val="000000"/>
        </a:accent4>
        <a:accent5>
          <a:srgbClr val="AABFD5"/>
        </a:accent5>
        <a:accent6>
          <a:srgbClr val="65B06E"/>
        </a:accent6>
        <a:hlink>
          <a:srgbClr val="EE2D26"/>
        </a:hlink>
        <a:folHlink>
          <a:srgbClr val="F08B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BNP Paribas">
  <a:themeElements>
    <a:clrScheme name="BNPP Green Template">
      <a:dk1>
        <a:srgbClr val="007CB1"/>
      </a:dk1>
      <a:lt1>
        <a:srgbClr val="DEE1E2"/>
      </a:lt1>
      <a:dk2>
        <a:srgbClr val="70C27A"/>
      </a:dk2>
      <a:lt2>
        <a:srgbClr val="CCE5EF"/>
      </a:lt2>
      <a:accent1>
        <a:srgbClr val="78848A"/>
      </a:accent1>
      <a:accent2>
        <a:srgbClr val="00915A"/>
      </a:accent2>
      <a:accent3>
        <a:srgbClr val="7FBDD8"/>
      </a:accent3>
      <a:accent4>
        <a:srgbClr val="E2F3E4"/>
      </a:accent4>
      <a:accent5>
        <a:srgbClr val="8986C0"/>
      </a:accent5>
      <a:accent6>
        <a:srgbClr val="EE2D26"/>
      </a:accent6>
      <a:hlink>
        <a:srgbClr val="78848A"/>
      </a:hlink>
      <a:folHlink>
        <a:srgbClr val="CCE5EF"/>
      </a:folHlink>
    </a:clrScheme>
    <a:fontScheme name="Template_A4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3175" cap="flat" cmpd="sng" algn="ctr">
          <a:solidFill>
            <a:srgbClr val="9CBCCC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000" tIns="18000" rIns="18000" bIns="18000" numCol="1" rtlCol="0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100" b="0" i="0" u="none" strike="noStrike" cap="none" normalizeH="0" dirty="0" smtClean="0">
            <a:ln>
              <a:noFill/>
            </a:ln>
            <a:solidFill>
              <a:srgbClr val="335687"/>
            </a:solidFill>
            <a:effectLst/>
            <a:latin typeface="Arial" charset="0"/>
            <a:ea typeface="楷体" panose="02010609060101010101" pitchFamily="49" charset="-122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rgbClr val="9CBCCC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18000" tIns="18000" rIns="18000" bIns="18000" numCol="1" anchor="ctr" anchorCtr="0" compatLnSpc="1">
        <a:prstTxWarp prst="textNoShape">
          <a:avLst/>
        </a:prstTxWarp>
      </a:bodyPr>
      <a:lstStyle>
        <a:defPPr marL="0" marR="0" indent="0" algn="ctr" defTabSz="9572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100" b="0" i="0" u="none" strike="noStrike" cap="none" normalizeH="0" baseline="0" smtClean="0">
            <a:ln>
              <a:noFill/>
            </a:ln>
            <a:solidFill>
              <a:srgbClr val="335687"/>
            </a:solidFill>
            <a:effectLst/>
            <a:latin typeface="Arial" charset="0"/>
            <a:cs typeface="Arial" charset="0"/>
          </a:defRPr>
        </a:defPPr>
      </a:lstStyle>
    </a:lnDef>
    <a:txDef>
      <a:spPr>
        <a:noFill/>
      </a:spPr>
      <a:bodyPr vert="horz" wrap="square" rtlCol="0">
        <a:spAutoFit/>
      </a:bodyPr>
      <a:lstStyle>
        <a:defPPr>
          <a:defRPr dirty="0" err="1" smtClean="0">
            <a:ea typeface="楷体" panose="02010609060101010101" pitchFamily="49" charset="-122"/>
          </a:defRPr>
        </a:defPPr>
      </a:lstStyle>
    </a:txDef>
  </a:objectDefaults>
  <a:extraClrSchemeLst>
    <a:extraClrScheme>
      <a:clrScheme name="Template_A4 1">
        <a:dk1>
          <a:srgbClr val="000000"/>
        </a:dk1>
        <a:lt1>
          <a:srgbClr val="FFFFFF"/>
        </a:lt1>
        <a:dk2>
          <a:srgbClr val="C6DAFF"/>
        </a:dk2>
        <a:lt2>
          <a:srgbClr val="00205C"/>
        </a:lt2>
        <a:accent1>
          <a:srgbClr val="999999"/>
        </a:accent1>
        <a:accent2>
          <a:srgbClr val="5C86D0"/>
        </a:accent2>
        <a:accent3>
          <a:srgbClr val="FFFFFF"/>
        </a:accent3>
        <a:accent4>
          <a:srgbClr val="000000"/>
        </a:accent4>
        <a:accent5>
          <a:srgbClr val="CACACA"/>
        </a:accent5>
        <a:accent6>
          <a:srgbClr val="5379BC"/>
        </a:accent6>
        <a:hlink>
          <a:srgbClr val="DDDDDD"/>
        </a:hlink>
        <a:folHlink>
          <a:srgbClr val="1D479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A4 2">
        <a:dk1>
          <a:srgbClr val="000000"/>
        </a:dk1>
        <a:lt1>
          <a:srgbClr val="FFFFFF"/>
        </a:lt1>
        <a:dk2>
          <a:srgbClr val="C6DAFF"/>
        </a:dk2>
        <a:lt2>
          <a:srgbClr val="00205C"/>
        </a:lt2>
        <a:accent1>
          <a:srgbClr val="999999"/>
        </a:accent1>
        <a:accent2>
          <a:srgbClr val="5C86D0"/>
        </a:accent2>
        <a:accent3>
          <a:srgbClr val="FFFFFF"/>
        </a:accent3>
        <a:accent4>
          <a:srgbClr val="000000"/>
        </a:accent4>
        <a:accent5>
          <a:srgbClr val="CACACA"/>
        </a:accent5>
        <a:accent6>
          <a:srgbClr val="5379BC"/>
        </a:accent6>
        <a:hlink>
          <a:srgbClr val="DDDDDD"/>
        </a:hlink>
        <a:folHlink>
          <a:srgbClr val="E5EE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A4 3">
        <a:dk1>
          <a:srgbClr val="000000"/>
        </a:dk1>
        <a:lt1>
          <a:srgbClr val="FFFFFF"/>
        </a:lt1>
        <a:dk2>
          <a:srgbClr val="CCCCCC"/>
        </a:dk2>
        <a:lt2>
          <a:srgbClr val="335687"/>
        </a:lt2>
        <a:accent1>
          <a:srgbClr val="0F2B5B"/>
        </a:accent1>
        <a:accent2>
          <a:srgbClr val="7F7F7F"/>
        </a:accent2>
        <a:accent3>
          <a:srgbClr val="FFFFFF"/>
        </a:accent3>
        <a:accent4>
          <a:srgbClr val="000000"/>
        </a:accent4>
        <a:accent5>
          <a:srgbClr val="AAACB5"/>
        </a:accent5>
        <a:accent6>
          <a:srgbClr val="727272"/>
        </a:accent6>
        <a:hlink>
          <a:srgbClr val="99AAC3"/>
        </a:hlink>
        <a:folHlink>
          <a:srgbClr val="D6DDE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mplate_A4 4">
        <a:dk1>
          <a:srgbClr val="000000"/>
        </a:dk1>
        <a:lt1>
          <a:srgbClr val="FFFFFF"/>
        </a:lt1>
        <a:dk2>
          <a:srgbClr val="CCCCCC"/>
        </a:dk2>
        <a:lt2>
          <a:srgbClr val="007CB1"/>
        </a:lt2>
        <a:accent1>
          <a:srgbClr val="335687"/>
        </a:accent1>
        <a:accent2>
          <a:srgbClr val="7F7F7F"/>
        </a:accent2>
        <a:accent3>
          <a:srgbClr val="FFFFFF"/>
        </a:accent3>
        <a:accent4>
          <a:srgbClr val="000000"/>
        </a:accent4>
        <a:accent5>
          <a:srgbClr val="ADB4C3"/>
        </a:accent5>
        <a:accent6>
          <a:srgbClr val="727272"/>
        </a:accent6>
        <a:hlink>
          <a:srgbClr val="9CBCCC"/>
        </a:hlink>
        <a:folHlink>
          <a:srgbClr val="8986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odèle par défaut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ppt/theme/themeOverride2.xml><?xml version="1.0" encoding="utf-8"?>
<a:themeOverride xmlns:a="http://schemas.openxmlformats.org/drawingml/2006/main">
  <a:clrScheme name="Modèle par défaut 1">
    <a:dk1>
      <a:srgbClr val="000000"/>
    </a:dk1>
    <a:lt1>
      <a:srgbClr val="FFFFFF"/>
    </a:lt1>
    <a:dk2>
      <a:srgbClr val="000000"/>
    </a:dk2>
    <a:lt2>
      <a:srgbClr val="808080"/>
    </a:lt2>
    <a:accent1>
      <a:srgbClr val="BBE0E3"/>
    </a:accent1>
    <a:accent2>
      <a:srgbClr val="333399"/>
    </a:accent2>
    <a:accent3>
      <a:srgbClr val="FFFFFF"/>
    </a:accent3>
    <a:accent4>
      <a:srgbClr val="000000"/>
    </a:accent4>
    <a:accent5>
      <a:srgbClr val="DAEDEF"/>
    </a:accent5>
    <a:accent6>
      <a:srgbClr val="2D2D8A"/>
    </a:accent6>
    <a:hlink>
      <a:srgbClr val="009999"/>
    </a:hlink>
    <a:folHlink>
      <a:srgbClr val="99CC0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Strategic Central Europe Committee</Template>
  <TotalTime>558</TotalTime>
  <Words>82</Words>
  <Application>Microsoft Office PowerPoint</Application>
  <PresentationFormat>On-screen Show (4:3)</PresentationFormat>
  <Paragraphs>8</Paragraphs>
  <Slides>2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1_Modèle par défaut</vt:lpstr>
      <vt:lpstr>2_Modèle par défaut</vt:lpstr>
      <vt:lpstr>3_CIB Print 2</vt:lpstr>
      <vt:lpstr>6_CIB Print 1</vt:lpstr>
      <vt:lpstr>5_CIB Print 1</vt:lpstr>
      <vt:lpstr>BNP Paribas</vt:lpstr>
      <vt:lpstr>think-cell Slide</vt:lpstr>
      <vt:lpstr>Business environment in Central Europe (1/2)</vt:lpstr>
      <vt:lpstr>Business environment in Central Europe (2/2)</vt:lpstr>
    </vt:vector>
  </TitlesOfParts>
  <Company>BNP Pariba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ategic Central Europe Committee</dc:title>
  <dc:creator>Eszter RACIBORSKI</dc:creator>
  <cp:lastModifiedBy>Eszter RACIBORSKI</cp:lastModifiedBy>
  <cp:revision>152</cp:revision>
  <cp:lastPrinted>2014-11-21T15:43:48Z</cp:lastPrinted>
  <dcterms:created xsi:type="dcterms:W3CDTF">2014-10-31T18:55:10Z</dcterms:created>
  <dcterms:modified xsi:type="dcterms:W3CDTF">2014-12-02T09:49:55Z</dcterms:modified>
</cp:coreProperties>
</file>